
<file path=[Content_Types].xml><?xml version="1.0" encoding="utf-8"?>
<Types xmlns="http://schemas.openxmlformats.org/package/2006/content-types">
  <Default Extension="tmp" ContentType="image/png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5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6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7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3.xml" ContentType="application/vnd.openxmlformats-officedocument.presentationml.notesSlide+xml"/>
  <Override PartName="/ppt/charts/chart7.xml" ContentType="application/vnd.openxmlformats-officedocument.drawingml.chart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4.xml" ContentType="application/vnd.openxmlformats-officedocument.presentationml.notesSlide+xml"/>
  <Override PartName="/ppt/charts/chart8.xml" ContentType="application/vnd.openxmlformats-officedocument.drawingml.chart+xml"/>
  <Override PartName="/ppt/notesSlides/notesSlide5.xml" ContentType="application/vnd.openxmlformats-officedocument.presentationml.notesSlide+xml"/>
  <Override PartName="/ppt/charts/chart9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drawings/drawing1.xml" ContentType="application/vnd.openxmlformats-officedocument.drawingml.chartshape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charts/chart10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charts/chart11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charts/chart12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charts/chart13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4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5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notesSlides/notesSlide6.xml" ContentType="application/vnd.openxmlformats-officedocument.presentationml.notesSlide+xml"/>
  <Override PartName="/ppt/charts/chart16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7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notesSlides/notesSlide7.xml" ContentType="application/vnd.openxmlformats-officedocument.presentationml.notesSlide+xml"/>
  <Override PartName="/ppt/charts/chart18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9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5" r:id="rId2"/>
    <p:sldMasterId id="2147483681" r:id="rId3"/>
    <p:sldMasterId id="2147483691" r:id="rId4"/>
    <p:sldMasterId id="2147483747" r:id="rId5"/>
    <p:sldMasterId id="2147483766" r:id="rId6"/>
    <p:sldMasterId id="2147483774" r:id="rId7"/>
    <p:sldMasterId id="2147483780" r:id="rId8"/>
  </p:sldMasterIdLst>
  <p:notesMasterIdLst>
    <p:notesMasterId r:id="rId53"/>
  </p:notesMasterIdLst>
  <p:sldIdLst>
    <p:sldId id="1624" r:id="rId9"/>
    <p:sldId id="1783" r:id="rId10"/>
    <p:sldId id="1852" r:id="rId11"/>
    <p:sldId id="1342" r:id="rId12"/>
    <p:sldId id="1343" r:id="rId13"/>
    <p:sldId id="1344" r:id="rId14"/>
    <p:sldId id="1919" r:id="rId15"/>
    <p:sldId id="1670" r:id="rId16"/>
    <p:sldId id="1926" r:id="rId17"/>
    <p:sldId id="1927" r:id="rId18"/>
    <p:sldId id="1803" r:id="rId19"/>
    <p:sldId id="1808" r:id="rId20"/>
    <p:sldId id="1810" r:id="rId21"/>
    <p:sldId id="1866" r:id="rId22"/>
    <p:sldId id="1928" r:id="rId23"/>
    <p:sldId id="1929" r:id="rId24"/>
    <p:sldId id="1930" r:id="rId25"/>
    <p:sldId id="1931" r:id="rId26"/>
    <p:sldId id="1804" r:id="rId27"/>
    <p:sldId id="1832" r:id="rId28"/>
    <p:sldId id="1293" r:id="rId29"/>
    <p:sldId id="1834" r:id="rId30"/>
    <p:sldId id="1420" r:id="rId31"/>
    <p:sldId id="1297" r:id="rId32"/>
    <p:sldId id="1933" r:id="rId33"/>
    <p:sldId id="1836" r:id="rId34"/>
    <p:sldId id="1415" r:id="rId35"/>
    <p:sldId id="1416" r:id="rId36"/>
    <p:sldId id="1417" r:id="rId37"/>
    <p:sldId id="1920" r:id="rId38"/>
    <p:sldId id="1921" r:id="rId39"/>
    <p:sldId id="1298" r:id="rId40"/>
    <p:sldId id="1702" r:id="rId41"/>
    <p:sldId id="1703" r:id="rId42"/>
    <p:sldId id="1922" r:id="rId43"/>
    <p:sldId id="1923" r:id="rId44"/>
    <p:sldId id="1924" r:id="rId45"/>
    <p:sldId id="1925" r:id="rId46"/>
    <p:sldId id="1918" r:id="rId47"/>
    <p:sldId id="1913" r:id="rId48"/>
    <p:sldId id="1914" r:id="rId49"/>
    <p:sldId id="1915" r:id="rId50"/>
    <p:sldId id="1916" r:id="rId51"/>
    <p:sldId id="1932" r:id="rId52"/>
  </p:sldIdLst>
  <p:sldSz cx="12192000" cy="6858000"/>
  <p:notesSz cx="6858000" cy="9144000"/>
  <p:custDataLst>
    <p:tags r:id="rId54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8" userDrawn="1">
          <p15:clr>
            <a:srgbClr val="A4A3A4"/>
          </p15:clr>
        </p15:guide>
        <p15:guide id="2" pos="57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CC"/>
    <a:srgbClr val="00FF00"/>
    <a:srgbClr val="D31145"/>
    <a:srgbClr val="FF33CC"/>
    <a:srgbClr val="00B050"/>
    <a:srgbClr val="800000"/>
    <a:srgbClr val="EAEFF7"/>
    <a:srgbClr val="FF9900"/>
    <a:srgbClr val="4472C4"/>
    <a:srgbClr val="7671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Světlý styl 1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352" autoAdjust="0"/>
    <p:restoredTop sz="95501" autoAdjust="0"/>
  </p:normalViewPr>
  <p:slideViewPr>
    <p:cSldViewPr snapToGrid="0">
      <p:cViewPr varScale="1">
        <p:scale>
          <a:sx n="102" d="100"/>
          <a:sy n="102" d="100"/>
        </p:scale>
        <p:origin x="540" y="114"/>
      </p:cViewPr>
      <p:guideLst>
        <p:guide orient="horz" pos="958"/>
        <p:guide pos="57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slide" Target="slides/slide34.xml"/><Relationship Id="rId47" Type="http://schemas.openxmlformats.org/officeDocument/2006/relationships/slide" Target="slides/slide39.xml"/><Relationship Id="rId50" Type="http://schemas.openxmlformats.org/officeDocument/2006/relationships/slide" Target="slides/slide42.xml"/><Relationship Id="rId55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slide" Target="slides/slide38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slide" Target="slides/slide33.xml"/><Relationship Id="rId54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53" Type="http://schemas.openxmlformats.org/officeDocument/2006/relationships/notesMaster" Target="notesMasters/notesMaster1.xml"/><Relationship Id="rId58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slide" Target="slides/slide41.xml"/><Relationship Id="rId57" Type="http://schemas.openxmlformats.org/officeDocument/2006/relationships/theme" Target="theme/theme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slide" Target="slides/slide36.xml"/><Relationship Id="rId52" Type="http://schemas.openxmlformats.org/officeDocument/2006/relationships/slide" Target="slides/slide4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slide" Target="slides/slide40.xml"/><Relationship Id="rId56" Type="http://schemas.openxmlformats.org/officeDocument/2006/relationships/viewProps" Target="viewProp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3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8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9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0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1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2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3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4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5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6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7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7.xlsx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\\172.16.18.175\share\000%20Sty&#269;n&#253;%20t&#253;m%20od%201.7.2020\25%20DIP%20-%20Dispe&#269;ink%20Intenzivn&#237;%20P&#233;&#269;e\Briefingy\Obsazenost%20lu&#778;z&#780;ek.xlsx" TargetMode="Externa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14:$A$280</c:f>
              <c:numCache>
                <c:formatCode>m/d/yyyy</c:formatCode>
                <c:ptCount val="67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14:$B$280</c:f>
              <c:numCache>
                <c:formatCode>0</c:formatCode>
                <c:ptCount val="67"/>
                <c:pt idx="0">
                  <c:v>6245</c:v>
                </c:pt>
                <c:pt idx="1">
                  <c:v>3837</c:v>
                </c:pt>
                <c:pt idx="2">
                  <c:v>2160</c:v>
                </c:pt>
                <c:pt idx="3">
                  <c:v>1925</c:v>
                </c:pt>
                <c:pt idx="4">
                  <c:v>1419</c:v>
                </c:pt>
                <c:pt idx="5">
                  <c:v>5583</c:v>
                </c:pt>
                <c:pt idx="6">
                  <c:v>7052</c:v>
                </c:pt>
                <c:pt idx="7">
                  <c:v>5281</c:v>
                </c:pt>
                <c:pt idx="8">
                  <c:v>4819</c:v>
                </c:pt>
                <c:pt idx="9">
                  <c:v>2204</c:v>
                </c:pt>
                <c:pt idx="10">
                  <c:v>985</c:v>
                </c:pt>
                <c:pt idx="11">
                  <c:v>3868</c:v>
                </c:pt>
                <c:pt idx="12">
                  <c:v>5056</c:v>
                </c:pt>
                <c:pt idx="13">
                  <c:v>3715</c:v>
                </c:pt>
                <c:pt idx="14">
                  <c:v>3263</c:v>
                </c:pt>
                <c:pt idx="15">
                  <c:v>3217</c:v>
                </c:pt>
                <c:pt idx="16">
                  <c:v>1541</c:v>
                </c:pt>
                <c:pt idx="17">
                  <c:v>833</c:v>
                </c:pt>
                <c:pt idx="18">
                  <c:v>3341</c:v>
                </c:pt>
                <c:pt idx="19">
                  <c:v>3815</c:v>
                </c:pt>
                <c:pt idx="20">
                  <c:v>2951</c:v>
                </c:pt>
                <c:pt idx="21">
                  <c:v>2628</c:v>
                </c:pt>
                <c:pt idx="22">
                  <c:v>2601</c:v>
                </c:pt>
                <c:pt idx="23">
                  <c:v>1307</c:v>
                </c:pt>
                <c:pt idx="24">
                  <c:v>825</c:v>
                </c:pt>
                <c:pt idx="25">
                  <c:v>2579</c:v>
                </c:pt>
                <c:pt idx="26">
                  <c:v>3238</c:v>
                </c:pt>
                <c:pt idx="27">
                  <c:v>2488</c:v>
                </c:pt>
                <c:pt idx="28">
                  <c:v>2228</c:v>
                </c:pt>
                <c:pt idx="29">
                  <c:v>2166</c:v>
                </c:pt>
                <c:pt idx="30">
                  <c:v>1171</c:v>
                </c:pt>
                <c:pt idx="31">
                  <c:v>508</c:v>
                </c:pt>
                <c:pt idx="32">
                  <c:v>2217</c:v>
                </c:pt>
                <c:pt idx="33">
                  <c:v>2416</c:v>
                </c:pt>
                <c:pt idx="34">
                  <c:v>1873</c:v>
                </c:pt>
                <c:pt idx="35">
                  <c:v>1572</c:v>
                </c:pt>
                <c:pt idx="36">
                  <c:v>1638</c:v>
                </c:pt>
                <c:pt idx="37">
                  <c:v>725</c:v>
                </c:pt>
                <c:pt idx="38">
                  <c:v>383</c:v>
                </c:pt>
                <c:pt idx="39">
                  <c:v>1544</c:v>
                </c:pt>
                <c:pt idx="40">
                  <c:v>1690</c:v>
                </c:pt>
                <c:pt idx="41">
                  <c:v>1264</c:v>
                </c:pt>
                <c:pt idx="42">
                  <c:v>1223</c:v>
                </c:pt>
                <c:pt idx="43">
                  <c:v>1051</c:v>
                </c:pt>
                <c:pt idx="44">
                  <c:v>597</c:v>
                </c:pt>
                <c:pt idx="45">
                  <c:v>256</c:v>
                </c:pt>
                <c:pt idx="46">
                  <c:v>1129</c:v>
                </c:pt>
                <c:pt idx="47">
                  <c:v>1198</c:v>
                </c:pt>
                <c:pt idx="48">
                  <c:v>778</c:v>
                </c:pt>
                <c:pt idx="49">
                  <c:v>679</c:v>
                </c:pt>
                <c:pt idx="50">
                  <c:v>671</c:v>
                </c:pt>
                <c:pt idx="51">
                  <c:v>333</c:v>
                </c:pt>
                <c:pt idx="52">
                  <c:v>196</c:v>
                </c:pt>
                <c:pt idx="53">
                  <c:v>697</c:v>
                </c:pt>
                <c:pt idx="54">
                  <c:v>658</c:v>
                </c:pt>
                <c:pt idx="55">
                  <c:v>539</c:v>
                </c:pt>
                <c:pt idx="56">
                  <c:v>506</c:v>
                </c:pt>
                <c:pt idx="57">
                  <c:v>456</c:v>
                </c:pt>
                <c:pt idx="58">
                  <c:v>222</c:v>
                </c:pt>
                <c:pt idx="59">
                  <c:v>1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14:$A$280</c:f>
              <c:numCache>
                <c:formatCode>m/d/yyyy</c:formatCode>
                <c:ptCount val="67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C$214:$C$280</c:f>
              <c:numCache>
                <c:formatCode>General</c:formatCode>
                <c:ptCount val="6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14:$A$280</c:f>
              <c:numCache>
                <c:formatCode>m/d/yyyy</c:formatCode>
                <c:ptCount val="67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D$214:$D$280</c:f>
              <c:numCache>
                <c:formatCode>General</c:formatCode>
                <c:ptCount val="67"/>
                <c:pt idx="25">
                  <c:v>2886</c:v>
                </c:pt>
                <c:pt idx="26">
                  <c:v>2689</c:v>
                </c:pt>
                <c:pt idx="27">
                  <c:v>2543</c:v>
                </c:pt>
                <c:pt idx="28" formatCode="#,##0">
                  <c:v>2425</c:v>
                </c:pt>
                <c:pt idx="29" formatCode="#,##0">
                  <c:v>2326</c:v>
                </c:pt>
                <c:pt idx="30" formatCode="#,##0">
                  <c:v>2220</c:v>
                </c:pt>
                <c:pt idx="31" formatCode="#,##0">
                  <c:v>2111</c:v>
                </c:pt>
                <c:pt idx="32" formatCode="#,##0">
                  <c:v>2003</c:v>
                </c:pt>
                <c:pt idx="33" formatCode="#,##0">
                  <c:v>1895</c:v>
                </c:pt>
                <c:pt idx="34" formatCode="#,##0">
                  <c:v>1805</c:v>
                </c:pt>
                <c:pt idx="35" formatCode="#,##0">
                  <c:v>1723</c:v>
                </c:pt>
                <c:pt idx="36" formatCode="#,##0">
                  <c:v>1644</c:v>
                </c:pt>
                <c:pt idx="37" formatCode="#,##0">
                  <c:v>1562</c:v>
                </c:pt>
                <c:pt idx="38" formatCode="#,##0">
                  <c:v>1484</c:v>
                </c:pt>
                <c:pt idx="39" formatCode="#,##0">
                  <c:v>1411</c:v>
                </c:pt>
                <c:pt idx="40" formatCode="#,##0">
                  <c:v>1344</c:v>
                </c:pt>
                <c:pt idx="41" formatCode="#,##0">
                  <c:v>1282</c:v>
                </c:pt>
                <c:pt idx="42" formatCode="#,##0">
                  <c:v>1221</c:v>
                </c:pt>
                <c:pt idx="43" formatCode="#,##0">
                  <c:v>1163</c:v>
                </c:pt>
                <c:pt idx="44" formatCode="#,##0">
                  <c:v>1107</c:v>
                </c:pt>
                <c:pt idx="45" formatCode="#,##0">
                  <c:v>1055</c:v>
                </c:pt>
                <c:pt idx="46" formatCode="#,##0">
                  <c:v>1005</c:v>
                </c:pt>
                <c:pt idx="47" formatCode="#,##0">
                  <c:v>958</c:v>
                </c:pt>
                <c:pt idx="48" formatCode="#,##0">
                  <c:v>914</c:v>
                </c:pt>
                <c:pt idx="49" formatCode="#,##0">
                  <c:v>871</c:v>
                </c:pt>
                <c:pt idx="50" formatCode="#,##0">
                  <c:v>831</c:v>
                </c:pt>
                <c:pt idx="51" formatCode="#,##0">
                  <c:v>793</c:v>
                </c:pt>
                <c:pt idx="52" formatCode="#,##0">
                  <c:v>756</c:v>
                </c:pt>
                <c:pt idx="53" formatCode="#,##0">
                  <c:v>722</c:v>
                </c:pt>
                <c:pt idx="54" formatCode="#,##0">
                  <c:v>690</c:v>
                </c:pt>
                <c:pt idx="55" formatCode="#,##0">
                  <c:v>658</c:v>
                </c:pt>
                <c:pt idx="56" formatCode="#,##0">
                  <c:v>629</c:v>
                </c:pt>
                <c:pt idx="57" formatCode="#,##0">
                  <c:v>601</c:v>
                </c:pt>
                <c:pt idx="58" formatCode="#,##0">
                  <c:v>574</c:v>
                </c:pt>
                <c:pt idx="59" formatCode="#,##0">
                  <c:v>549</c:v>
                </c:pt>
                <c:pt idx="60" formatCode="#,##0">
                  <c:v>525</c:v>
                </c:pt>
                <c:pt idx="61" formatCode="#,##0">
                  <c:v>502</c:v>
                </c:pt>
                <c:pt idx="62" formatCode="#,##0">
                  <c:v>481</c:v>
                </c:pt>
                <c:pt idx="63" formatCode="#,##0">
                  <c:v>460</c:v>
                </c:pt>
                <c:pt idx="64" formatCode="#,##0">
                  <c:v>441</c:v>
                </c:pt>
                <c:pt idx="65" formatCode="#,##0">
                  <c:v>422</c:v>
                </c:pt>
                <c:pt idx="66" formatCode="#,##0">
                  <c:v>4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8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14:$A$280</c:f>
              <c:numCache>
                <c:formatCode>m/d/yyyy</c:formatCode>
                <c:ptCount val="67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E$214:$E$280</c:f>
              <c:numCache>
                <c:formatCode>General</c:formatCode>
                <c:ptCount val="67"/>
                <c:pt idx="25">
                  <c:v>2886</c:v>
                </c:pt>
                <c:pt idx="26">
                  <c:v>2821</c:v>
                </c:pt>
                <c:pt idx="27">
                  <c:v>2747</c:v>
                </c:pt>
                <c:pt idx="28" formatCode="#,##0">
                  <c:v>2668</c:v>
                </c:pt>
                <c:pt idx="29" formatCode="#,##0">
                  <c:v>2588</c:v>
                </c:pt>
                <c:pt idx="30" formatCode="#,##0">
                  <c:v>2515</c:v>
                </c:pt>
                <c:pt idx="31" formatCode="#,##0">
                  <c:v>2446</c:v>
                </c:pt>
                <c:pt idx="32" formatCode="#,##0">
                  <c:v>2381</c:v>
                </c:pt>
                <c:pt idx="33" formatCode="#,##0">
                  <c:v>2318</c:v>
                </c:pt>
                <c:pt idx="34" formatCode="#,##0">
                  <c:v>2253</c:v>
                </c:pt>
                <c:pt idx="35" formatCode="#,##0">
                  <c:v>2190</c:v>
                </c:pt>
                <c:pt idx="36" formatCode="#,##0">
                  <c:v>2129</c:v>
                </c:pt>
                <c:pt idx="37" formatCode="#,##0">
                  <c:v>2071</c:v>
                </c:pt>
                <c:pt idx="38" formatCode="#,##0">
                  <c:v>2016</c:v>
                </c:pt>
                <c:pt idx="39" formatCode="#,##0">
                  <c:v>1962</c:v>
                </c:pt>
                <c:pt idx="40" formatCode="#,##0">
                  <c:v>1908</c:v>
                </c:pt>
                <c:pt idx="41" formatCode="#,##0">
                  <c:v>1855</c:v>
                </c:pt>
                <c:pt idx="42" formatCode="#,##0">
                  <c:v>1805</c:v>
                </c:pt>
                <c:pt idx="43" formatCode="#,##0">
                  <c:v>1757</c:v>
                </c:pt>
                <c:pt idx="44" formatCode="#,##0">
                  <c:v>1709</c:v>
                </c:pt>
                <c:pt idx="45" formatCode="#,##0">
                  <c:v>1663</c:v>
                </c:pt>
                <c:pt idx="46" formatCode="#,##0">
                  <c:v>1619</c:v>
                </c:pt>
                <c:pt idx="47" formatCode="#,##0">
                  <c:v>1576</c:v>
                </c:pt>
                <c:pt idx="48" formatCode="#,##0">
                  <c:v>1533</c:v>
                </c:pt>
                <c:pt idx="49" formatCode="#,##0">
                  <c:v>1493</c:v>
                </c:pt>
                <c:pt idx="50" formatCode="#,##0">
                  <c:v>1453</c:v>
                </c:pt>
                <c:pt idx="51" formatCode="#,##0">
                  <c:v>1415</c:v>
                </c:pt>
                <c:pt idx="52" formatCode="#,##0">
                  <c:v>1377</c:v>
                </c:pt>
                <c:pt idx="53" formatCode="#,##0">
                  <c:v>1341</c:v>
                </c:pt>
                <c:pt idx="54" formatCode="#,##0">
                  <c:v>1306</c:v>
                </c:pt>
                <c:pt idx="55" formatCode="#,##0">
                  <c:v>1271</c:v>
                </c:pt>
                <c:pt idx="56" formatCode="#,##0">
                  <c:v>1238</c:v>
                </c:pt>
                <c:pt idx="57" formatCode="#,##0">
                  <c:v>1206</c:v>
                </c:pt>
                <c:pt idx="58" formatCode="#,##0">
                  <c:v>1174</c:v>
                </c:pt>
                <c:pt idx="59" formatCode="#,##0">
                  <c:v>1144</c:v>
                </c:pt>
                <c:pt idx="60" formatCode="#,##0">
                  <c:v>1114</c:v>
                </c:pt>
                <c:pt idx="61" formatCode="#,##0">
                  <c:v>1086</c:v>
                </c:pt>
                <c:pt idx="62" formatCode="#,##0">
                  <c:v>1058</c:v>
                </c:pt>
                <c:pt idx="63" formatCode="#,##0">
                  <c:v>1031</c:v>
                </c:pt>
                <c:pt idx="64" formatCode="#,##0">
                  <c:v>1005</c:v>
                </c:pt>
                <c:pt idx="65" formatCode="#,##0">
                  <c:v>979</c:v>
                </c:pt>
                <c:pt idx="66" formatCode="#,##0">
                  <c:v>9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14A-45E8-87A1-7BD2345ADB46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14:$A$280</c:f>
              <c:numCache>
                <c:formatCode>m/d/yyyy</c:formatCode>
                <c:ptCount val="67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F$214:$F$280</c:f>
              <c:numCache>
                <c:formatCode>General</c:formatCode>
                <c:ptCount val="67"/>
                <c:pt idx="25">
                  <c:v>2886</c:v>
                </c:pt>
                <c:pt idx="26">
                  <c:v>2952</c:v>
                </c:pt>
                <c:pt idx="27">
                  <c:v>2951</c:v>
                </c:pt>
                <c:pt idx="28" formatCode="#,##0">
                  <c:v>2911</c:v>
                </c:pt>
                <c:pt idx="29" formatCode="#,##0">
                  <c:v>2850</c:v>
                </c:pt>
                <c:pt idx="30" formatCode="#,##0">
                  <c:v>2816</c:v>
                </c:pt>
                <c:pt idx="31" formatCode="#,##0">
                  <c:v>2797</c:v>
                </c:pt>
                <c:pt idx="32" formatCode="#,##0">
                  <c:v>2788</c:v>
                </c:pt>
                <c:pt idx="33" formatCode="#,##0">
                  <c:v>2783</c:v>
                </c:pt>
                <c:pt idx="34" formatCode="#,##0">
                  <c:v>2753</c:v>
                </c:pt>
                <c:pt idx="35" formatCode="#,##0">
                  <c:v>2718</c:v>
                </c:pt>
                <c:pt idx="36" formatCode="#,##0">
                  <c:v>2690</c:v>
                </c:pt>
                <c:pt idx="37" formatCode="#,##0">
                  <c:v>2675</c:v>
                </c:pt>
                <c:pt idx="38" formatCode="#,##0">
                  <c:v>2660</c:v>
                </c:pt>
                <c:pt idx="39" formatCode="#,##0">
                  <c:v>2641</c:v>
                </c:pt>
                <c:pt idx="40" formatCode="#,##0">
                  <c:v>2619</c:v>
                </c:pt>
                <c:pt idx="41" formatCode="#,##0">
                  <c:v>2593</c:v>
                </c:pt>
                <c:pt idx="42" formatCode="#,##0">
                  <c:v>2570</c:v>
                </c:pt>
                <c:pt idx="43" formatCode="#,##0">
                  <c:v>2552</c:v>
                </c:pt>
                <c:pt idx="44" formatCode="#,##0">
                  <c:v>2535</c:v>
                </c:pt>
                <c:pt idx="45" formatCode="#,##0">
                  <c:v>2516</c:v>
                </c:pt>
                <c:pt idx="46" formatCode="#,##0">
                  <c:v>2494</c:v>
                </c:pt>
                <c:pt idx="47" formatCode="#,##0">
                  <c:v>2473</c:v>
                </c:pt>
                <c:pt idx="48" formatCode="#,##0">
                  <c:v>2454</c:v>
                </c:pt>
                <c:pt idx="49" formatCode="#,##0">
                  <c:v>2435</c:v>
                </c:pt>
                <c:pt idx="50" formatCode="#,##0">
                  <c:v>2417</c:v>
                </c:pt>
                <c:pt idx="51" formatCode="#,##0">
                  <c:v>2398</c:v>
                </c:pt>
                <c:pt idx="52" formatCode="#,##0">
                  <c:v>2379</c:v>
                </c:pt>
                <c:pt idx="53" formatCode="#,##0">
                  <c:v>2360</c:v>
                </c:pt>
                <c:pt idx="54" formatCode="#,##0">
                  <c:v>2341</c:v>
                </c:pt>
                <c:pt idx="55" formatCode="#,##0">
                  <c:v>2324</c:v>
                </c:pt>
                <c:pt idx="56" formatCode="#,##0">
                  <c:v>2306</c:v>
                </c:pt>
                <c:pt idx="57" formatCode="#,##0">
                  <c:v>2288</c:v>
                </c:pt>
                <c:pt idx="58" formatCode="#,##0">
                  <c:v>2271</c:v>
                </c:pt>
                <c:pt idx="59" formatCode="#,##0">
                  <c:v>2252</c:v>
                </c:pt>
                <c:pt idx="60" formatCode="#,##0">
                  <c:v>2235</c:v>
                </c:pt>
                <c:pt idx="61" formatCode="#,##0">
                  <c:v>2218</c:v>
                </c:pt>
                <c:pt idx="62" formatCode="#,##0">
                  <c:v>2201</c:v>
                </c:pt>
                <c:pt idx="63" formatCode="#,##0">
                  <c:v>2184</c:v>
                </c:pt>
                <c:pt idx="64" formatCode="#,##0">
                  <c:v>2167</c:v>
                </c:pt>
                <c:pt idx="65" formatCode="#,##0">
                  <c:v>2151</c:v>
                </c:pt>
                <c:pt idx="66" formatCode="#,##0">
                  <c:v>21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14:$A$280</c:f>
              <c:numCache>
                <c:formatCode>m/d/yyyy</c:formatCode>
                <c:ptCount val="67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G$214:$G$280</c:f>
              <c:numCache>
                <c:formatCode>General</c:formatCode>
                <c:ptCount val="67"/>
                <c:pt idx="25">
                  <c:v>2886</c:v>
                </c:pt>
                <c:pt idx="26">
                  <c:v>3149</c:v>
                </c:pt>
                <c:pt idx="27">
                  <c:v>3258</c:v>
                </c:pt>
                <c:pt idx="28" formatCode="#,##0">
                  <c:v>3276</c:v>
                </c:pt>
                <c:pt idx="29" formatCode="#,##0">
                  <c:v>3243</c:v>
                </c:pt>
                <c:pt idx="30" formatCode="#,##0">
                  <c:v>3281</c:v>
                </c:pt>
                <c:pt idx="31" formatCode="#,##0">
                  <c:v>3356</c:v>
                </c:pt>
                <c:pt idx="32" formatCode="#,##0">
                  <c:v>3453</c:v>
                </c:pt>
                <c:pt idx="33" formatCode="#,##0">
                  <c:v>3560</c:v>
                </c:pt>
                <c:pt idx="34" formatCode="#,##0">
                  <c:v>3602</c:v>
                </c:pt>
                <c:pt idx="35" formatCode="#,##0">
                  <c:v>3633</c:v>
                </c:pt>
                <c:pt idx="36" formatCode="#,##0">
                  <c:v>3683</c:v>
                </c:pt>
                <c:pt idx="37" formatCode="#,##0">
                  <c:v>3771</c:v>
                </c:pt>
                <c:pt idx="38" formatCode="#,##0">
                  <c:v>3860</c:v>
                </c:pt>
                <c:pt idx="39" formatCode="#,##0">
                  <c:v>3936</c:v>
                </c:pt>
                <c:pt idx="40" formatCode="#,##0">
                  <c:v>4000</c:v>
                </c:pt>
                <c:pt idx="41" formatCode="#,##0">
                  <c:v>4058</c:v>
                </c:pt>
                <c:pt idx="42" formatCode="#,##0">
                  <c:v>4129</c:v>
                </c:pt>
                <c:pt idx="43" formatCode="#,##0">
                  <c:v>4213</c:v>
                </c:pt>
                <c:pt idx="44" formatCode="#,##0">
                  <c:v>4300</c:v>
                </c:pt>
                <c:pt idx="45" formatCode="#,##0">
                  <c:v>4379</c:v>
                </c:pt>
                <c:pt idx="46" formatCode="#,##0">
                  <c:v>4453</c:v>
                </c:pt>
                <c:pt idx="47" formatCode="#,##0">
                  <c:v>4528</c:v>
                </c:pt>
                <c:pt idx="48" formatCode="#,##0">
                  <c:v>4611</c:v>
                </c:pt>
                <c:pt idx="49" formatCode="#,##0">
                  <c:v>4700</c:v>
                </c:pt>
                <c:pt idx="50" formatCode="#,##0">
                  <c:v>4789</c:v>
                </c:pt>
                <c:pt idx="51" formatCode="#,##0">
                  <c:v>4876</c:v>
                </c:pt>
                <c:pt idx="52" formatCode="#,##0">
                  <c:v>4961</c:v>
                </c:pt>
                <c:pt idx="53" formatCode="#,##0">
                  <c:v>5049</c:v>
                </c:pt>
                <c:pt idx="54" formatCode="#,##0">
                  <c:v>5141</c:v>
                </c:pt>
                <c:pt idx="55" formatCode="#,##0">
                  <c:v>5237</c:v>
                </c:pt>
                <c:pt idx="56" formatCode="#,##0">
                  <c:v>5333</c:v>
                </c:pt>
                <c:pt idx="57" formatCode="#,##0">
                  <c:v>5429</c:v>
                </c:pt>
                <c:pt idx="58" formatCode="#,##0">
                  <c:v>5526</c:v>
                </c:pt>
                <c:pt idx="59" formatCode="#,##0">
                  <c:v>5626</c:v>
                </c:pt>
                <c:pt idx="60" formatCode="#,##0">
                  <c:v>5728</c:v>
                </c:pt>
                <c:pt idx="61" formatCode="#,##0">
                  <c:v>5832</c:v>
                </c:pt>
                <c:pt idx="62" formatCode="#,##0">
                  <c:v>5938</c:v>
                </c:pt>
                <c:pt idx="63" formatCode="#,##0">
                  <c:v>6045</c:v>
                </c:pt>
                <c:pt idx="64" formatCode="#,##0">
                  <c:v>6154</c:v>
                </c:pt>
                <c:pt idx="65" formatCode="#,##0">
                  <c:v>6265</c:v>
                </c:pt>
                <c:pt idx="66" formatCode="#,##0">
                  <c:v>63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0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G$2:$G$141</c:f>
              <c:numCache>
                <c:formatCode>General</c:formatCode>
                <c:ptCount val="140"/>
                <c:pt idx="0">
                  <c:v>6309</c:v>
                </c:pt>
                <c:pt idx="1">
                  <c:v>6341</c:v>
                </c:pt>
                <c:pt idx="2">
                  <c:v>6427</c:v>
                </c:pt>
                <c:pt idx="3">
                  <c:v>6525</c:v>
                </c:pt>
                <c:pt idx="4">
                  <c:v>6544</c:v>
                </c:pt>
                <c:pt idx="5">
                  <c:v>6148</c:v>
                </c:pt>
                <c:pt idx="6">
                  <c:v>6354</c:v>
                </c:pt>
                <c:pt idx="7">
                  <c:v>7047</c:v>
                </c:pt>
                <c:pt idx="8">
                  <c:v>7075</c:v>
                </c:pt>
                <c:pt idx="9">
                  <c:v>7169</c:v>
                </c:pt>
                <c:pt idx="10">
                  <c:v>7385</c:v>
                </c:pt>
                <c:pt idx="11">
                  <c:v>7484</c:v>
                </c:pt>
                <c:pt idx="12">
                  <c:v>7186</c:v>
                </c:pt>
                <c:pt idx="13">
                  <c:v>7449</c:v>
                </c:pt>
                <c:pt idx="14">
                  <c:v>8254</c:v>
                </c:pt>
                <c:pt idx="15">
                  <c:v>8434</c:v>
                </c:pt>
                <c:pt idx="16">
                  <c:v>8378</c:v>
                </c:pt>
                <c:pt idx="17">
                  <c:v>8381</c:v>
                </c:pt>
                <c:pt idx="18">
                  <c:v>8448</c:v>
                </c:pt>
                <c:pt idx="19">
                  <c:v>8105</c:v>
                </c:pt>
                <c:pt idx="20">
                  <c:v>8328</c:v>
                </c:pt>
                <c:pt idx="21">
                  <c:v>9001</c:v>
                </c:pt>
                <c:pt idx="22">
                  <c:v>8972</c:v>
                </c:pt>
                <c:pt idx="23">
                  <c:v>8994</c:v>
                </c:pt>
                <c:pt idx="24">
                  <c:v>8961</c:v>
                </c:pt>
                <c:pt idx="25">
                  <c:v>8924</c:v>
                </c:pt>
                <c:pt idx="26">
                  <c:v>8531</c:v>
                </c:pt>
                <c:pt idx="27">
                  <c:v>8742</c:v>
                </c:pt>
                <c:pt idx="28">
                  <c:v>9458</c:v>
                </c:pt>
                <c:pt idx="29">
                  <c:v>9328</c:v>
                </c:pt>
                <c:pt idx="30">
                  <c:v>9158</c:v>
                </c:pt>
                <c:pt idx="31">
                  <c:v>8954</c:v>
                </c:pt>
                <c:pt idx="32">
                  <c:v>8764</c:v>
                </c:pt>
                <c:pt idx="33">
                  <c:v>8202</c:v>
                </c:pt>
                <c:pt idx="34">
                  <c:v>8314</c:v>
                </c:pt>
                <c:pt idx="35">
                  <c:v>8952</c:v>
                </c:pt>
                <c:pt idx="36">
                  <c:v>8616</c:v>
                </c:pt>
                <c:pt idx="37">
                  <c:v>8299</c:v>
                </c:pt>
                <c:pt idx="38">
                  <c:v>8139</c:v>
                </c:pt>
                <c:pt idx="39">
                  <c:v>8014</c:v>
                </c:pt>
                <c:pt idx="40">
                  <c:v>7495</c:v>
                </c:pt>
                <c:pt idx="41">
                  <c:v>7544</c:v>
                </c:pt>
                <c:pt idx="42">
                  <c:v>8085</c:v>
                </c:pt>
                <c:pt idx="43">
                  <c:v>7816</c:v>
                </c:pt>
                <c:pt idx="44">
                  <c:v>7501</c:v>
                </c:pt>
                <c:pt idx="45">
                  <c:v>7192</c:v>
                </c:pt>
                <c:pt idx="46">
                  <c:v>6364</c:v>
                </c:pt>
                <c:pt idx="47">
                  <c:v>6215</c:v>
                </c:pt>
                <c:pt idx="48">
                  <c:v>6312</c:v>
                </c:pt>
                <c:pt idx="49">
                  <c:v>6379</c:v>
                </c:pt>
                <c:pt idx="50">
                  <c:v>7053</c:v>
                </c:pt>
                <c:pt idx="51">
                  <c:v>6698</c:v>
                </c:pt>
                <c:pt idx="52">
                  <c:v>6224</c:v>
                </c:pt>
                <c:pt idx="53">
                  <c:v>5906</c:v>
                </c:pt>
                <c:pt idx="54">
                  <c:v>5267</c:v>
                </c:pt>
                <c:pt idx="55">
                  <c:v>5221</c:v>
                </c:pt>
                <c:pt idx="56">
                  <c:v>5515</c:v>
                </c:pt>
                <c:pt idx="57">
                  <c:v>5209</c:v>
                </c:pt>
                <c:pt idx="58">
                  <c:v>4907</c:v>
                </c:pt>
                <c:pt idx="59">
                  <c:v>4650</c:v>
                </c:pt>
                <c:pt idx="60">
                  <c:v>4403</c:v>
                </c:pt>
                <c:pt idx="61">
                  <c:v>4008</c:v>
                </c:pt>
                <c:pt idx="62">
                  <c:v>4016</c:v>
                </c:pt>
                <c:pt idx="63">
                  <c:v>4288</c:v>
                </c:pt>
                <c:pt idx="64">
                  <c:v>4121</c:v>
                </c:pt>
                <c:pt idx="65">
                  <c:v>3961</c:v>
                </c:pt>
                <c:pt idx="66">
                  <c:v>3724</c:v>
                </c:pt>
                <c:pt idx="67">
                  <c:v>3510</c:v>
                </c:pt>
                <c:pt idx="68">
                  <c:v>3164</c:v>
                </c:pt>
                <c:pt idx="69">
                  <c:v>3157</c:v>
                </c:pt>
                <c:pt idx="70">
                  <c:v>3308</c:v>
                </c:pt>
                <c:pt idx="71">
                  <c:v>3138</c:v>
                </c:pt>
                <c:pt idx="72">
                  <c:v>2989</c:v>
                </c:pt>
                <c:pt idx="73">
                  <c:v>2823</c:v>
                </c:pt>
                <c:pt idx="74">
                  <c:v>2664</c:v>
                </c:pt>
                <c:pt idx="75">
                  <c:v>2453</c:v>
                </c:pt>
                <c:pt idx="76">
                  <c:v>2479</c:v>
                </c:pt>
                <c:pt idx="77">
                  <c:v>2669</c:v>
                </c:pt>
                <c:pt idx="78">
                  <c:v>2519</c:v>
                </c:pt>
                <c:pt idx="79">
                  <c:v>2345</c:v>
                </c:pt>
                <c:pt idx="80">
                  <c:v>2211</c:v>
                </c:pt>
                <c:pt idx="81">
                  <c:v>2117</c:v>
                </c:pt>
                <c:pt idx="82">
                  <c:v>1879</c:v>
                </c:pt>
                <c:pt idx="83">
                  <c:v>1860</c:v>
                </c:pt>
                <c:pt idx="84">
                  <c:v>1976</c:v>
                </c:pt>
                <c:pt idx="85">
                  <c:v>1819</c:v>
                </c:pt>
                <c:pt idx="86">
                  <c:v>1707</c:v>
                </c:pt>
                <c:pt idx="87">
                  <c:v>1609</c:v>
                </c:pt>
                <c:pt idx="88">
                  <c:v>1520</c:v>
                </c:pt>
                <c:pt idx="89">
                  <c:v>1323</c:v>
                </c:pt>
                <c:pt idx="90">
                  <c:v>1309</c:v>
                </c:pt>
                <c:pt idx="91">
                  <c:v>1388</c:v>
                </c:pt>
                <c:pt idx="92">
                  <c:v>1252</c:v>
                </c:pt>
                <c:pt idx="93">
                  <c:v>1146</c:v>
                </c:pt>
                <c:pt idx="94">
                  <c:v>1055</c:v>
                </c:pt>
                <c:pt idx="95">
                  <c:v>1012</c:v>
                </c:pt>
                <c:pt idx="96">
                  <c:v>863</c:v>
                </c:pt>
                <c:pt idx="97">
                  <c:v>849</c:v>
                </c:pt>
                <c:pt idx="98">
                  <c:v>877</c:v>
                </c:pt>
                <c:pt idx="99">
                  <c:v>783</c:v>
                </c:pt>
                <c:pt idx="100">
                  <c:v>761</c:v>
                </c:pt>
                <c:pt idx="101">
                  <c:v>665</c:v>
                </c:pt>
                <c:pt idx="102">
                  <c:v>582</c:v>
                </c:pt>
                <c:pt idx="103">
                  <c:v>498</c:v>
                </c:pt>
                <c:pt idx="104">
                  <c:v>4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C$2:$C$141</c:f>
              <c:numCache>
                <c:formatCode>General</c:formatCode>
                <c:ptCount val="140"/>
                <c:pt idx="10">
                  <c:v>7390.1761350202369</c:v>
                </c:pt>
                <c:pt idx="11">
                  <c:v>7605.893358174183</c:v>
                </c:pt>
                <c:pt idx="12">
                  <c:v>7825.2505012478341</c:v>
                </c:pt>
                <c:pt idx="13">
                  <c:v>8050.762203401292</c:v>
                </c:pt>
                <c:pt idx="14">
                  <c:v>8279.1191332418803</c:v>
                </c:pt>
                <c:pt idx="15">
                  <c:v>8503.2254463176323</c:v>
                </c:pt>
                <c:pt idx="16">
                  <c:v>8721.603289580873</c:v>
                </c:pt>
                <c:pt idx="17">
                  <c:v>8927.5386434423526</c:v>
                </c:pt>
                <c:pt idx="18">
                  <c:v>9114.0500544420538</c:v>
                </c:pt>
                <c:pt idx="19">
                  <c:v>9281.0448283864935</c:v>
                </c:pt>
                <c:pt idx="20">
                  <c:v>9429.217242284476</c:v>
                </c:pt>
                <c:pt idx="21">
                  <c:v>9555.1923097091221</c:v>
                </c:pt>
                <c:pt idx="22">
                  <c:v>9656.9782281682292</c:v>
                </c:pt>
                <c:pt idx="23">
                  <c:v>9735.2877285114719</c:v>
                </c:pt>
                <c:pt idx="24">
                  <c:v>9791.7818006494927</c:v>
                </c:pt>
                <c:pt idx="25">
                  <c:v>9828.2119929175533</c:v>
                </c:pt>
                <c:pt idx="26">
                  <c:v>9845.0192410242034</c:v>
                </c:pt>
                <c:pt idx="27">
                  <c:v>9842.0602416890324</c:v>
                </c:pt>
                <c:pt idx="28">
                  <c:v>9818.6047412973257</c:v>
                </c:pt>
                <c:pt idx="29">
                  <c:v>9775.8935461287692</c:v>
                </c:pt>
                <c:pt idx="30">
                  <c:v>9715.8129154693452</c:v>
                </c:pt>
                <c:pt idx="31">
                  <c:v>9639.7787081913484</c:v>
                </c:pt>
                <c:pt idx="32">
                  <c:v>9548.5265017187521</c:v>
                </c:pt>
                <c:pt idx="33">
                  <c:v>9442.9978422059667</c:v>
                </c:pt>
                <c:pt idx="34">
                  <c:v>9324.6068657295764</c:v>
                </c:pt>
                <c:pt idx="35">
                  <c:v>9194.1937875069343</c:v>
                </c:pt>
                <c:pt idx="36">
                  <c:v>9053.1271709989451</c:v>
                </c:pt>
                <c:pt idx="37">
                  <c:v>8902.449109692574</c:v>
                </c:pt>
                <c:pt idx="38">
                  <c:v>8742.961812191541</c:v>
                </c:pt>
                <c:pt idx="39">
                  <c:v>8575.8146120231722</c:v>
                </c:pt>
                <c:pt idx="40">
                  <c:v>8402.1736825591925</c:v>
                </c:pt>
                <c:pt idx="41">
                  <c:v>8222.9377724416117</c:v>
                </c:pt>
                <c:pt idx="42">
                  <c:v>8038.9815165524851</c:v>
                </c:pt>
                <c:pt idx="43">
                  <c:v>7851.3764651724096</c:v>
                </c:pt>
                <c:pt idx="44">
                  <c:v>7660.9408838638037</c:v>
                </c:pt>
                <c:pt idx="45">
                  <c:v>7468.4514807086634</c:v>
                </c:pt>
                <c:pt idx="46">
                  <c:v>7274.7744017502628</c:v>
                </c:pt>
                <c:pt idx="47">
                  <c:v>7080.5259514789577</c:v>
                </c:pt>
                <c:pt idx="48">
                  <c:v>6886.3659308200586</c:v>
                </c:pt>
                <c:pt idx="49">
                  <c:v>6692.9814118874137</c:v>
                </c:pt>
                <c:pt idx="50">
                  <c:v>6500.8591623498214</c:v>
                </c:pt>
                <c:pt idx="51">
                  <c:v>6310.4692300302013</c:v>
                </c:pt>
                <c:pt idx="52">
                  <c:v>6122.2173777858552</c:v>
                </c:pt>
                <c:pt idx="53">
                  <c:v>5936.4453004767511</c:v>
                </c:pt>
                <c:pt idx="54">
                  <c:v>5753.5184597888019</c:v>
                </c:pt>
                <c:pt idx="55">
                  <c:v>5573.7801564003121</c:v>
                </c:pt>
                <c:pt idx="56">
                  <c:v>5397.5254052576838</c:v>
                </c:pt>
                <c:pt idx="57">
                  <c:v>5224.9703293548482</c:v>
                </c:pt>
                <c:pt idx="58">
                  <c:v>5056.2523178186239</c:v>
                </c:pt>
                <c:pt idx="59">
                  <c:v>4891.4485279537748</c:v>
                </c:pt>
                <c:pt idx="60">
                  <c:v>4730.5825664609911</c:v>
                </c:pt>
                <c:pt idx="61">
                  <c:v>4573.6557674766191</c:v>
                </c:pt>
                <c:pt idx="62">
                  <c:v>4420.5713505166104</c:v>
                </c:pt>
                <c:pt idx="63">
                  <c:v>4271.2854643966893</c:v>
                </c:pt>
                <c:pt idx="64">
                  <c:v>4125.7733784559405</c:v>
                </c:pt>
                <c:pt idx="65">
                  <c:v>3983.8856178034853</c:v>
                </c:pt>
                <c:pt idx="66">
                  <c:v>3845.4285929877683</c:v>
                </c:pt>
                <c:pt idx="67">
                  <c:v>3710.2455163443783</c:v>
                </c:pt>
                <c:pt idx="68">
                  <c:v>3578.2081775881725</c:v>
                </c:pt>
                <c:pt idx="69">
                  <c:v>3449.206131222465</c:v>
                </c:pt>
                <c:pt idx="70">
                  <c:v>3323.1993337662584</c:v>
                </c:pt>
                <c:pt idx="71">
                  <c:v>3200.1209146828564</c:v>
                </c:pt>
                <c:pt idx="72">
                  <c:v>3079.8779822484585</c:v>
                </c:pt>
                <c:pt idx="73">
                  <c:v>2962.3545654887048</c:v>
                </c:pt>
                <c:pt idx="74">
                  <c:v>2847.4124725081651</c:v>
                </c:pt>
                <c:pt idx="75">
                  <c:v>2734.9344664467917</c:v>
                </c:pt>
                <c:pt idx="76">
                  <c:v>2624.8812167631904</c:v>
                </c:pt>
                <c:pt idx="77">
                  <c:v>2517.274094599969</c:v>
                </c:pt>
                <c:pt idx="78">
                  <c:v>2412.104533954026</c:v>
                </c:pt>
                <c:pt idx="79">
                  <c:v>2309.3488252957818</c:v>
                </c:pt>
                <c:pt idx="80">
                  <c:v>2208.9687156413279</c:v>
                </c:pt>
                <c:pt idx="81">
                  <c:v>2110.9266204012165</c:v>
                </c:pt>
                <c:pt idx="82">
                  <c:v>2015.2071990681184</c:v>
                </c:pt>
                <c:pt idx="83">
                  <c:v>1921.8523125175013</c:v>
                </c:pt>
                <c:pt idx="84">
                  <c:v>1830.9350928819135</c:v>
                </c:pt>
                <c:pt idx="85">
                  <c:v>1742.5089928813661</c:v>
                </c:pt>
                <c:pt idx="86">
                  <c:v>1656.6082414704265</c:v>
                </c:pt>
                <c:pt idx="87">
                  <c:v>1573.2499808295388</c:v>
                </c:pt>
                <c:pt idx="88">
                  <c:v>1492.4374711003575</c:v>
                </c:pt>
                <c:pt idx="89">
                  <c:v>1414.1718663011311</c:v>
                </c:pt>
                <c:pt idx="90">
                  <c:v>1338.4709614377666</c:v>
                </c:pt>
                <c:pt idx="91">
                  <c:v>1265.3599902051565</c:v>
                </c:pt>
                <c:pt idx="92">
                  <c:v>1194.8445940020772</c:v>
                </c:pt>
                <c:pt idx="93">
                  <c:v>1126.9020756297914</c:v>
                </c:pt>
                <c:pt idx="94">
                  <c:v>1061.4887565356221</c:v>
                </c:pt>
                <c:pt idx="95">
                  <c:v>998.54723762312346</c:v>
                </c:pt>
                <c:pt idx="96">
                  <c:v>938.01185347435558</c:v>
                </c:pt>
                <c:pt idx="97">
                  <c:v>879.81136777563142</c:v>
                </c:pt>
                <c:pt idx="98">
                  <c:v>823.87020763276382</c:v>
                </c:pt>
                <c:pt idx="99">
                  <c:v>770.1102602391843</c:v>
                </c:pt>
                <c:pt idx="100">
                  <c:v>718.45287817928659</c:v>
                </c:pt>
                <c:pt idx="101">
                  <c:v>668.82335706730464</c:v>
                </c:pt>
                <c:pt idx="102">
                  <c:v>621.15054756613438</c:v>
                </c:pt>
                <c:pt idx="103">
                  <c:v>575.36663353554422</c:v>
                </c:pt>
                <c:pt idx="104">
                  <c:v>531.40707518999216</c:v>
                </c:pt>
                <c:pt idx="105">
                  <c:v>489.21179959943834</c:v>
                </c:pt>
                <c:pt idx="106">
                  <c:v>448.73557110813027</c:v>
                </c:pt>
                <c:pt idx="107">
                  <c:v>409.94320855181218</c:v>
                </c:pt>
                <c:pt idx="108">
                  <c:v>372.80457180829762</c:v>
                </c:pt>
                <c:pt idx="109">
                  <c:v>337.29123101039568</c:v>
                </c:pt>
                <c:pt idx="110">
                  <c:v>303.37533988109658</c:v>
                </c:pt>
                <c:pt idx="111">
                  <c:v>271.02788462357773</c:v>
                </c:pt>
                <c:pt idx="112">
                  <c:v>240.21863950742392</c:v>
                </c:pt>
                <c:pt idx="113">
                  <c:v>210.91532747268496</c:v>
                </c:pt>
                <c:pt idx="114">
                  <c:v>183.08151974925701</c:v>
                </c:pt>
                <c:pt idx="115">
                  <c:v>156.67710889134267</c:v>
                </c:pt>
                <c:pt idx="116">
                  <c:v>139.65866000480099</c:v>
                </c:pt>
                <c:pt idx="117">
                  <c:v>121.04752884732443</c:v>
                </c:pt>
                <c:pt idx="118">
                  <c:v>113.75244351802394</c:v>
                </c:pt>
                <c:pt idx="119">
                  <c:v>106.90964812700986</c:v>
                </c:pt>
                <c:pt idx="120">
                  <c:v>100.4883565781347</c:v>
                </c:pt>
                <c:pt idx="121">
                  <c:v>94.45893198630074</c:v>
                </c:pt>
                <c:pt idx="122">
                  <c:v>88.793044817080954</c:v>
                </c:pt>
                <c:pt idx="123">
                  <c:v>83.463953660539119</c:v>
                </c:pt>
                <c:pt idx="124">
                  <c:v>78.44674891649629</c:v>
                </c:pt>
                <c:pt idx="125">
                  <c:v>73.718549212266225</c:v>
                </c:pt>
                <c:pt idx="126">
                  <c:v>69.258613415935542</c:v>
                </c:pt>
                <c:pt idx="127">
                  <c:v>65.048309660283849</c:v>
                </c:pt>
                <c:pt idx="128">
                  <c:v>61.07097058344516</c:v>
                </c:pt>
                <c:pt idx="129">
                  <c:v>57.311704650637694</c:v>
                </c:pt>
                <c:pt idx="130">
                  <c:v>53.757191449170932</c:v>
                </c:pt>
                <c:pt idx="131">
                  <c:v>50.395474322809605</c:v>
                </c:pt>
                <c:pt idx="132">
                  <c:v>47.215774430776946</c:v>
                </c:pt>
                <c:pt idx="133">
                  <c:v>44.208320643607294</c:v>
                </c:pt>
                <c:pt idx="134">
                  <c:v>41.364203246543184</c:v>
                </c:pt>
                <c:pt idx="135">
                  <c:v>38.675244257610757</c:v>
                </c:pt>
                <c:pt idx="136">
                  <c:v>36.133891421050066</c:v>
                </c:pt>
                <c:pt idx="137">
                  <c:v>33.733125280676177</c:v>
                </c:pt>
                <c:pt idx="138">
                  <c:v>31.466377897333587</c:v>
                </c:pt>
                <c:pt idx="139">
                  <c:v>29.3274672687111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216-4360-A02D-44DD6057B4BC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D$2:$D$141</c:f>
              <c:numCache>
                <c:formatCode>General</c:formatCode>
                <c:ptCount val="140"/>
                <c:pt idx="10">
                  <c:v>7390.1761350202369</c:v>
                </c:pt>
                <c:pt idx="11">
                  <c:v>7605.893358174183</c:v>
                </c:pt>
                <c:pt idx="12">
                  <c:v>7825.2505012478341</c:v>
                </c:pt>
                <c:pt idx="13">
                  <c:v>8050.762203401292</c:v>
                </c:pt>
                <c:pt idx="14">
                  <c:v>8279.1191332418803</c:v>
                </c:pt>
                <c:pt idx="15">
                  <c:v>8503.2254463176323</c:v>
                </c:pt>
                <c:pt idx="16">
                  <c:v>8721.603289580873</c:v>
                </c:pt>
                <c:pt idx="17">
                  <c:v>8927.5386434423526</c:v>
                </c:pt>
                <c:pt idx="18">
                  <c:v>9114.0500544420538</c:v>
                </c:pt>
                <c:pt idx="19">
                  <c:v>9281.0448283864935</c:v>
                </c:pt>
                <c:pt idx="20">
                  <c:v>9429.217242284476</c:v>
                </c:pt>
                <c:pt idx="21">
                  <c:v>9555.1923097091221</c:v>
                </c:pt>
                <c:pt idx="22">
                  <c:v>9656.9782281682292</c:v>
                </c:pt>
                <c:pt idx="23">
                  <c:v>9735.2877285114719</c:v>
                </c:pt>
                <c:pt idx="24">
                  <c:v>9791.7818006494927</c:v>
                </c:pt>
                <c:pt idx="25">
                  <c:v>9828.2119929175533</c:v>
                </c:pt>
                <c:pt idx="26">
                  <c:v>9845.0192410242034</c:v>
                </c:pt>
                <c:pt idx="27">
                  <c:v>9842.0602416890324</c:v>
                </c:pt>
                <c:pt idx="28">
                  <c:v>9818.6047412973257</c:v>
                </c:pt>
                <c:pt idx="29">
                  <c:v>9775.8935461287692</c:v>
                </c:pt>
                <c:pt idx="30">
                  <c:v>9715.8129154693452</c:v>
                </c:pt>
                <c:pt idx="31">
                  <c:v>9639.7787081913484</c:v>
                </c:pt>
                <c:pt idx="32">
                  <c:v>9548.5265017187521</c:v>
                </c:pt>
                <c:pt idx="33">
                  <c:v>9442.9978422059667</c:v>
                </c:pt>
                <c:pt idx="34">
                  <c:v>9324.6068657295764</c:v>
                </c:pt>
                <c:pt idx="35">
                  <c:v>9194.1937875069343</c:v>
                </c:pt>
                <c:pt idx="36">
                  <c:v>9053.1271709989451</c:v>
                </c:pt>
                <c:pt idx="37">
                  <c:v>8902.449109692574</c:v>
                </c:pt>
                <c:pt idx="38">
                  <c:v>8742.961812191541</c:v>
                </c:pt>
                <c:pt idx="39">
                  <c:v>8575.8146120231722</c:v>
                </c:pt>
                <c:pt idx="40">
                  <c:v>8402.1736825591925</c:v>
                </c:pt>
                <c:pt idx="41">
                  <c:v>8222.9377724416117</c:v>
                </c:pt>
                <c:pt idx="42">
                  <c:v>8038.9815165524851</c:v>
                </c:pt>
                <c:pt idx="43">
                  <c:v>7851.3764651724096</c:v>
                </c:pt>
                <c:pt idx="44">
                  <c:v>7660.9408838638037</c:v>
                </c:pt>
                <c:pt idx="45">
                  <c:v>7468.4514807086634</c:v>
                </c:pt>
                <c:pt idx="46">
                  <c:v>7274.7744017502628</c:v>
                </c:pt>
                <c:pt idx="47">
                  <c:v>7080.5259514789577</c:v>
                </c:pt>
                <c:pt idx="48">
                  <c:v>6886.3659308200586</c:v>
                </c:pt>
                <c:pt idx="49">
                  <c:v>6692.9814118874137</c:v>
                </c:pt>
                <c:pt idx="50">
                  <c:v>6500.8591623498214</c:v>
                </c:pt>
                <c:pt idx="51">
                  <c:v>6310.4692300302013</c:v>
                </c:pt>
                <c:pt idx="52">
                  <c:v>6122.2173777858552</c:v>
                </c:pt>
                <c:pt idx="53">
                  <c:v>5936.4453004767511</c:v>
                </c:pt>
                <c:pt idx="54">
                  <c:v>5753.5184597888019</c:v>
                </c:pt>
                <c:pt idx="55">
                  <c:v>5573.7801564003121</c:v>
                </c:pt>
                <c:pt idx="56">
                  <c:v>5397.5254052576838</c:v>
                </c:pt>
                <c:pt idx="57">
                  <c:v>5224.9703293548482</c:v>
                </c:pt>
                <c:pt idx="58">
                  <c:v>5056.2523178186239</c:v>
                </c:pt>
                <c:pt idx="59">
                  <c:v>4891.4485279537748</c:v>
                </c:pt>
                <c:pt idx="60">
                  <c:v>4730.5825664609911</c:v>
                </c:pt>
                <c:pt idx="61">
                  <c:v>4573.6557674766191</c:v>
                </c:pt>
                <c:pt idx="62">
                  <c:v>4420.5713505166104</c:v>
                </c:pt>
                <c:pt idx="63">
                  <c:v>4271.2854643966893</c:v>
                </c:pt>
                <c:pt idx="64">
                  <c:v>4125.7733784559405</c:v>
                </c:pt>
                <c:pt idx="65">
                  <c:v>3983.8856178034853</c:v>
                </c:pt>
                <c:pt idx="66">
                  <c:v>3845.4285929877683</c:v>
                </c:pt>
                <c:pt idx="67">
                  <c:v>3710.2455163443783</c:v>
                </c:pt>
                <c:pt idx="68">
                  <c:v>3578.2081775881725</c:v>
                </c:pt>
                <c:pt idx="69">
                  <c:v>3449.206131222465</c:v>
                </c:pt>
                <c:pt idx="70">
                  <c:v>3323.1993337662584</c:v>
                </c:pt>
                <c:pt idx="71">
                  <c:v>3200.1209146828564</c:v>
                </c:pt>
                <c:pt idx="72">
                  <c:v>3079.8779822484585</c:v>
                </c:pt>
                <c:pt idx="73">
                  <c:v>2962.3545654887048</c:v>
                </c:pt>
                <c:pt idx="74">
                  <c:v>2847.4124725081651</c:v>
                </c:pt>
                <c:pt idx="75">
                  <c:v>2734.9344664467917</c:v>
                </c:pt>
                <c:pt idx="76">
                  <c:v>2624.8812167631904</c:v>
                </c:pt>
                <c:pt idx="77">
                  <c:v>2517.274094599969</c:v>
                </c:pt>
                <c:pt idx="78">
                  <c:v>2412.104533954026</c:v>
                </c:pt>
                <c:pt idx="79">
                  <c:v>2309.3488252957818</c:v>
                </c:pt>
                <c:pt idx="80">
                  <c:v>2208.9687156413279</c:v>
                </c:pt>
                <c:pt idx="81">
                  <c:v>2110.9266204012165</c:v>
                </c:pt>
                <c:pt idx="82">
                  <c:v>2015.2071990681184</c:v>
                </c:pt>
                <c:pt idx="83">
                  <c:v>1921.8523125175013</c:v>
                </c:pt>
                <c:pt idx="84">
                  <c:v>1830.9350928819135</c:v>
                </c:pt>
                <c:pt idx="85">
                  <c:v>1742.5089928813661</c:v>
                </c:pt>
                <c:pt idx="86">
                  <c:v>1656.6082414704265</c:v>
                </c:pt>
                <c:pt idx="87">
                  <c:v>1573.2499808295388</c:v>
                </c:pt>
                <c:pt idx="88">
                  <c:v>1492.4374711003575</c:v>
                </c:pt>
                <c:pt idx="89">
                  <c:v>1414.1718663011311</c:v>
                </c:pt>
                <c:pt idx="90">
                  <c:v>1338.4709614377666</c:v>
                </c:pt>
                <c:pt idx="91">
                  <c:v>1265.3599902051565</c:v>
                </c:pt>
                <c:pt idx="92">
                  <c:v>1195.3830579124794</c:v>
                </c:pt>
                <c:pt idx="93">
                  <c:v>1128.854445425716</c:v>
                </c:pt>
                <c:pt idx="94">
                  <c:v>1065.9006600929363</c:v>
                </c:pt>
                <c:pt idx="95">
                  <c:v>1006.5513967700978</c:v>
                </c:pt>
                <c:pt idx="96">
                  <c:v>950.786899373761</c:v>
                </c:pt>
                <c:pt idx="97">
                  <c:v>898.56300686364045</c:v>
                </c:pt>
                <c:pt idx="98">
                  <c:v>849.81434841666646</c:v>
                </c:pt>
                <c:pt idx="99">
                  <c:v>804.85674833111091</c:v>
                </c:pt>
                <c:pt idx="100">
                  <c:v>763.83121049132478</c:v>
                </c:pt>
                <c:pt idx="101">
                  <c:v>726.73734952589109</c:v>
                </c:pt>
                <c:pt idx="102">
                  <c:v>693.4894493554641</c:v>
                </c:pt>
                <c:pt idx="103">
                  <c:v>663.9473152954472</c:v>
                </c:pt>
                <c:pt idx="104">
                  <c:v>637.94510216998719</c:v>
                </c:pt>
                <c:pt idx="105">
                  <c:v>615.31150907408573</c:v>
                </c:pt>
                <c:pt idx="106">
                  <c:v>595.89987946312601</c:v>
                </c:pt>
                <c:pt idx="107">
                  <c:v>579.56832830054771</c:v>
                </c:pt>
                <c:pt idx="108">
                  <c:v>566.17088036043992</c:v>
                </c:pt>
                <c:pt idx="109">
                  <c:v>555.54962212306884</c:v>
                </c:pt>
                <c:pt idx="110">
                  <c:v>547.54172563881593</c:v>
                </c:pt>
                <c:pt idx="111">
                  <c:v>541.98315828459863</c:v>
                </c:pt>
                <c:pt idx="112">
                  <c:v>538.72310085544837</c:v>
                </c:pt>
                <c:pt idx="113">
                  <c:v>537.62012055866944</c:v>
                </c:pt>
                <c:pt idx="114">
                  <c:v>538.52830558786991</c:v>
                </c:pt>
                <c:pt idx="115">
                  <c:v>541.30302446329631</c:v>
                </c:pt>
                <c:pt idx="116">
                  <c:v>545.80255696976542</c:v>
                </c:pt>
                <c:pt idx="117">
                  <c:v>551.88980847790208</c:v>
                </c:pt>
                <c:pt idx="118">
                  <c:v>559.42886052474796</c:v>
                </c:pt>
                <c:pt idx="119">
                  <c:v>568.28359655291069</c:v>
                </c:pt>
                <c:pt idx="120">
                  <c:v>578.31441203862528</c:v>
                </c:pt>
                <c:pt idx="121">
                  <c:v>589.37869750320908</c:v>
                </c:pt>
                <c:pt idx="122">
                  <c:v>601.33283352510057</c:v>
                </c:pt>
                <c:pt idx="123">
                  <c:v>614.03237256026023</c:v>
                </c:pt>
                <c:pt idx="124">
                  <c:v>627.33335172853697</c:v>
                </c:pt>
                <c:pt idx="125">
                  <c:v>641.09257883182738</c:v>
                </c:pt>
                <c:pt idx="126">
                  <c:v>655.16857681654039</c:v>
                </c:pt>
                <c:pt idx="127">
                  <c:v>669.4213264470493</c:v>
                </c:pt>
                <c:pt idx="128">
                  <c:v>683.71300702715939</c:v>
                </c:pt>
                <c:pt idx="129">
                  <c:v>697.9089823345937</c:v>
                </c:pt>
                <c:pt idx="130">
                  <c:v>711.87856567309029</c:v>
                </c:pt>
                <c:pt idx="131">
                  <c:v>725.49613346920808</c:v>
                </c:pt>
                <c:pt idx="132">
                  <c:v>738.6417072177577</c:v>
                </c:pt>
                <c:pt idx="133">
                  <c:v>751.20121981530633</c:v>
                </c:pt>
                <c:pt idx="134">
                  <c:v>763.06686267086025</c:v>
                </c:pt>
                <c:pt idx="135">
                  <c:v>774.13746544001617</c:v>
                </c:pt>
                <c:pt idx="136">
                  <c:v>784.31909672895347</c:v>
                </c:pt>
                <c:pt idx="137">
                  <c:v>793.5254072152461</c:v>
                </c:pt>
                <c:pt idx="138">
                  <c:v>801.67801088992883</c:v>
                </c:pt>
                <c:pt idx="139">
                  <c:v>808.706553149824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216-4360-A02D-44DD6057B4BC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F$2:$F$141</c:f>
              <c:numCache>
                <c:formatCode>General</c:formatCode>
                <c:ptCount val="14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7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G$2:$G$141</c:f>
              <c:numCache>
                <c:formatCode>General</c:formatCode>
                <c:ptCount val="140"/>
                <c:pt idx="0">
                  <c:v>1168</c:v>
                </c:pt>
                <c:pt idx="1">
                  <c:v>1211</c:v>
                </c:pt>
                <c:pt idx="2">
                  <c:v>1239</c:v>
                </c:pt>
                <c:pt idx="3">
                  <c:v>1265</c:v>
                </c:pt>
                <c:pt idx="4">
                  <c:v>1268</c:v>
                </c:pt>
                <c:pt idx="5">
                  <c:v>1267</c:v>
                </c:pt>
                <c:pt idx="6">
                  <c:v>1281</c:v>
                </c:pt>
                <c:pt idx="7">
                  <c:v>1360</c:v>
                </c:pt>
                <c:pt idx="8">
                  <c:v>1389</c:v>
                </c:pt>
                <c:pt idx="9">
                  <c:v>1408</c:v>
                </c:pt>
                <c:pt idx="10">
                  <c:v>1463</c:v>
                </c:pt>
                <c:pt idx="11">
                  <c:v>1439</c:v>
                </c:pt>
                <c:pt idx="12">
                  <c:v>1466</c:v>
                </c:pt>
                <c:pt idx="13">
                  <c:v>1502</c:v>
                </c:pt>
                <c:pt idx="14">
                  <c:v>1585</c:v>
                </c:pt>
                <c:pt idx="15">
                  <c:v>1596</c:v>
                </c:pt>
                <c:pt idx="16">
                  <c:v>1623</c:v>
                </c:pt>
                <c:pt idx="17">
                  <c:v>1650</c:v>
                </c:pt>
                <c:pt idx="18">
                  <c:v>1670</c:v>
                </c:pt>
                <c:pt idx="19">
                  <c:v>1671</c:v>
                </c:pt>
                <c:pt idx="20">
                  <c:v>1675</c:v>
                </c:pt>
                <c:pt idx="21">
                  <c:v>1769</c:v>
                </c:pt>
                <c:pt idx="22">
                  <c:v>1797</c:v>
                </c:pt>
                <c:pt idx="23">
                  <c:v>1826</c:v>
                </c:pt>
                <c:pt idx="24">
                  <c:v>1816</c:v>
                </c:pt>
                <c:pt idx="25">
                  <c:v>1827</c:v>
                </c:pt>
                <c:pt idx="26">
                  <c:v>1777</c:v>
                </c:pt>
                <c:pt idx="27">
                  <c:v>1824</c:v>
                </c:pt>
                <c:pt idx="28">
                  <c:v>1882</c:v>
                </c:pt>
                <c:pt idx="29">
                  <c:v>1891</c:v>
                </c:pt>
                <c:pt idx="30">
                  <c:v>1858</c:v>
                </c:pt>
                <c:pt idx="31">
                  <c:v>1858</c:v>
                </c:pt>
                <c:pt idx="32">
                  <c:v>1816</c:v>
                </c:pt>
                <c:pt idx="33">
                  <c:v>1777</c:v>
                </c:pt>
                <c:pt idx="34">
                  <c:v>1801</c:v>
                </c:pt>
                <c:pt idx="35">
                  <c:v>1821</c:v>
                </c:pt>
                <c:pt idx="36">
                  <c:v>1772</c:v>
                </c:pt>
                <c:pt idx="37">
                  <c:v>1740</c:v>
                </c:pt>
                <c:pt idx="38">
                  <c:v>1739</c:v>
                </c:pt>
                <c:pt idx="39">
                  <c:v>1674</c:v>
                </c:pt>
                <c:pt idx="40">
                  <c:v>1639</c:v>
                </c:pt>
                <c:pt idx="41">
                  <c:v>1649</c:v>
                </c:pt>
                <c:pt idx="42">
                  <c:v>1659</c:v>
                </c:pt>
                <c:pt idx="43">
                  <c:v>1610</c:v>
                </c:pt>
                <c:pt idx="44">
                  <c:v>1550</c:v>
                </c:pt>
                <c:pt idx="45">
                  <c:v>1501</c:v>
                </c:pt>
                <c:pt idx="46">
                  <c:v>1420</c:v>
                </c:pt>
                <c:pt idx="47">
                  <c:v>1397</c:v>
                </c:pt>
                <c:pt idx="48">
                  <c:v>1378</c:v>
                </c:pt>
                <c:pt idx="49">
                  <c:v>1344</c:v>
                </c:pt>
                <c:pt idx="50">
                  <c:v>1392</c:v>
                </c:pt>
                <c:pt idx="51">
                  <c:v>1358</c:v>
                </c:pt>
                <c:pt idx="52">
                  <c:v>1312</c:v>
                </c:pt>
                <c:pt idx="53">
                  <c:v>1232</c:v>
                </c:pt>
                <c:pt idx="54">
                  <c:v>1213</c:v>
                </c:pt>
                <c:pt idx="55">
                  <c:v>1195</c:v>
                </c:pt>
                <c:pt idx="56">
                  <c:v>1182</c:v>
                </c:pt>
                <c:pt idx="57">
                  <c:v>1154</c:v>
                </c:pt>
                <c:pt idx="58">
                  <c:v>1110</c:v>
                </c:pt>
                <c:pt idx="59">
                  <c:v>1033</c:v>
                </c:pt>
                <c:pt idx="60">
                  <c:v>1010</c:v>
                </c:pt>
                <c:pt idx="61">
                  <c:v>971</c:v>
                </c:pt>
                <c:pt idx="62">
                  <c:v>973</c:v>
                </c:pt>
                <c:pt idx="63">
                  <c:v>992</c:v>
                </c:pt>
                <c:pt idx="64">
                  <c:v>941</c:v>
                </c:pt>
                <c:pt idx="65">
                  <c:v>906</c:v>
                </c:pt>
                <c:pt idx="66">
                  <c:v>830</c:v>
                </c:pt>
                <c:pt idx="67">
                  <c:v>784</c:v>
                </c:pt>
                <c:pt idx="68">
                  <c:v>749</c:v>
                </c:pt>
                <c:pt idx="69">
                  <c:v>757</c:v>
                </c:pt>
                <c:pt idx="70">
                  <c:v>735</c:v>
                </c:pt>
                <c:pt idx="71">
                  <c:v>709</c:v>
                </c:pt>
                <c:pt idx="72">
                  <c:v>683</c:v>
                </c:pt>
                <c:pt idx="73">
                  <c:v>634</c:v>
                </c:pt>
                <c:pt idx="74">
                  <c:v>575</c:v>
                </c:pt>
                <c:pt idx="75">
                  <c:v>551</c:v>
                </c:pt>
                <c:pt idx="76">
                  <c:v>557</c:v>
                </c:pt>
                <c:pt idx="77">
                  <c:v>563</c:v>
                </c:pt>
                <c:pt idx="78">
                  <c:v>542</c:v>
                </c:pt>
                <c:pt idx="79">
                  <c:v>499</c:v>
                </c:pt>
                <c:pt idx="80">
                  <c:v>464</c:v>
                </c:pt>
                <c:pt idx="81">
                  <c:v>441</c:v>
                </c:pt>
                <c:pt idx="82">
                  <c:v>413</c:v>
                </c:pt>
                <c:pt idx="83">
                  <c:v>422</c:v>
                </c:pt>
                <c:pt idx="84">
                  <c:v>426</c:v>
                </c:pt>
                <c:pt idx="85">
                  <c:v>402</c:v>
                </c:pt>
                <c:pt idx="86">
                  <c:v>377</c:v>
                </c:pt>
                <c:pt idx="87">
                  <c:v>367</c:v>
                </c:pt>
                <c:pt idx="88">
                  <c:v>340</c:v>
                </c:pt>
                <c:pt idx="89">
                  <c:v>307</c:v>
                </c:pt>
                <c:pt idx="90">
                  <c:v>302</c:v>
                </c:pt>
                <c:pt idx="91">
                  <c:v>294</c:v>
                </c:pt>
                <c:pt idx="92">
                  <c:v>279</c:v>
                </c:pt>
                <c:pt idx="93">
                  <c:v>250</c:v>
                </c:pt>
                <c:pt idx="94">
                  <c:v>219</c:v>
                </c:pt>
                <c:pt idx="95">
                  <c:v>193</c:v>
                </c:pt>
                <c:pt idx="96">
                  <c:v>189</c:v>
                </c:pt>
                <c:pt idx="97">
                  <c:v>188</c:v>
                </c:pt>
                <c:pt idx="98">
                  <c:v>183</c:v>
                </c:pt>
                <c:pt idx="99">
                  <c:v>162</c:v>
                </c:pt>
                <c:pt idx="100">
                  <c:v>155</c:v>
                </c:pt>
                <c:pt idx="101">
                  <c:v>144</c:v>
                </c:pt>
                <c:pt idx="102">
                  <c:v>121</c:v>
                </c:pt>
                <c:pt idx="103">
                  <c:v>111</c:v>
                </c:pt>
                <c:pt idx="104">
                  <c:v>1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C$2:$C$141</c:f>
              <c:numCache>
                <c:formatCode>General</c:formatCode>
                <c:ptCount val="140"/>
                <c:pt idx="10">
                  <c:v>1333.7582518430186</c:v>
                </c:pt>
                <c:pt idx="11">
                  <c:v>1376.706904211208</c:v>
                </c:pt>
                <c:pt idx="12">
                  <c:v>1423.2811499639101</c:v>
                </c:pt>
                <c:pt idx="13">
                  <c:v>1470.540367327066</c:v>
                </c:pt>
                <c:pt idx="14">
                  <c:v>1518.4134183552167</c:v>
                </c:pt>
                <c:pt idx="15">
                  <c:v>1568.6722926947714</c:v>
                </c:pt>
                <c:pt idx="16">
                  <c:v>1616.6484258167636</c:v>
                </c:pt>
                <c:pt idx="17">
                  <c:v>1656.596422477679</c:v>
                </c:pt>
                <c:pt idx="18">
                  <c:v>1696.1606878389841</c:v>
                </c:pt>
                <c:pt idx="19">
                  <c:v>1734.9619903982959</c:v>
                </c:pt>
                <c:pt idx="20">
                  <c:v>1772.3993743159122</c:v>
                </c:pt>
                <c:pt idx="21">
                  <c:v>1803.1915037422291</c:v>
                </c:pt>
                <c:pt idx="22">
                  <c:v>1833.4167867118485</c:v>
                </c:pt>
                <c:pt idx="23">
                  <c:v>1858.0379437855881</c:v>
                </c:pt>
                <c:pt idx="24">
                  <c:v>1870.7773782689137</c:v>
                </c:pt>
                <c:pt idx="25">
                  <c:v>1878.239140959515</c:v>
                </c:pt>
                <c:pt idx="26">
                  <c:v>1886.6396911228833</c:v>
                </c:pt>
                <c:pt idx="27">
                  <c:v>1890.6485952884364</c:v>
                </c:pt>
                <c:pt idx="28">
                  <c:v>1891.3767357115437</c:v>
                </c:pt>
                <c:pt idx="29">
                  <c:v>1889.9402103680266</c:v>
                </c:pt>
                <c:pt idx="30">
                  <c:v>1884.024894908036</c:v>
                </c:pt>
                <c:pt idx="31">
                  <c:v>1870.8592857919334</c:v>
                </c:pt>
                <c:pt idx="32">
                  <c:v>1855.9196566125672</c:v>
                </c:pt>
                <c:pt idx="33">
                  <c:v>1842.6228698821585</c:v>
                </c:pt>
                <c:pt idx="34">
                  <c:v>1826.6988606255541</c:v>
                </c:pt>
                <c:pt idx="35">
                  <c:v>1807.4020012797575</c:v>
                </c:pt>
                <c:pt idx="36">
                  <c:v>1786.4011478469031</c:v>
                </c:pt>
                <c:pt idx="37">
                  <c:v>1762.9406490876938</c:v>
                </c:pt>
                <c:pt idx="38">
                  <c:v>1732.0419695653452</c:v>
                </c:pt>
                <c:pt idx="39">
                  <c:v>1700.7036096217244</c:v>
                </c:pt>
                <c:pt idx="40">
                  <c:v>1671.2402059355529</c:v>
                </c:pt>
                <c:pt idx="41">
                  <c:v>1640.0965599856893</c:v>
                </c:pt>
                <c:pt idx="42">
                  <c:v>1607.276023145278</c:v>
                </c:pt>
                <c:pt idx="43">
                  <c:v>1575.7228716492125</c:v>
                </c:pt>
                <c:pt idx="44">
                  <c:v>1543.3265142670166</c:v>
                </c:pt>
                <c:pt idx="45">
                  <c:v>1503.9074612304696</c:v>
                </c:pt>
                <c:pt idx="46">
                  <c:v>1465.9775938206446</c:v>
                </c:pt>
                <c:pt idx="47">
                  <c:v>1430.8487470160674</c:v>
                </c:pt>
                <c:pt idx="48">
                  <c:v>1395.6372230630682</c:v>
                </c:pt>
                <c:pt idx="49">
                  <c:v>1359.2956744667454</c:v>
                </c:pt>
                <c:pt idx="50">
                  <c:v>1324.780175297931</c:v>
                </c:pt>
                <c:pt idx="51">
                  <c:v>1291.5520054600499</c:v>
                </c:pt>
                <c:pt idx="52">
                  <c:v>1253.305810998713</c:v>
                </c:pt>
                <c:pt idx="53">
                  <c:v>1216.1766986686584</c:v>
                </c:pt>
                <c:pt idx="54">
                  <c:v>1181.5377852231934</c:v>
                </c:pt>
                <c:pt idx="55">
                  <c:v>1148.2893114055005</c:v>
                </c:pt>
                <c:pt idx="56">
                  <c:v>1117.3171356791065</c:v>
                </c:pt>
                <c:pt idx="57">
                  <c:v>1086.4985905725487</c:v>
                </c:pt>
                <c:pt idx="58">
                  <c:v>1054.8848232547837</c:v>
                </c:pt>
                <c:pt idx="59">
                  <c:v>1021.207025130917</c:v>
                </c:pt>
                <c:pt idx="60">
                  <c:v>987.04590965282443</c:v>
                </c:pt>
                <c:pt idx="61">
                  <c:v>955.27615634161316</c:v>
                </c:pt>
                <c:pt idx="62">
                  <c:v>924.87740863287911</c:v>
                </c:pt>
                <c:pt idx="63">
                  <c:v>894.48086694860638</c:v>
                </c:pt>
                <c:pt idx="64">
                  <c:v>867.85635274546871</c:v>
                </c:pt>
                <c:pt idx="65">
                  <c:v>841.2511018480792</c:v>
                </c:pt>
                <c:pt idx="66">
                  <c:v>812.80658683936383</c:v>
                </c:pt>
                <c:pt idx="67">
                  <c:v>785.85545150537189</c:v>
                </c:pt>
                <c:pt idx="68">
                  <c:v>761.16896593346428</c:v>
                </c:pt>
                <c:pt idx="69">
                  <c:v>735.98125255698824</c:v>
                </c:pt>
                <c:pt idx="70">
                  <c:v>712.06047850291316</c:v>
                </c:pt>
                <c:pt idx="71">
                  <c:v>689.41810905530485</c:v>
                </c:pt>
                <c:pt idx="72">
                  <c:v>667.12532294555047</c:v>
                </c:pt>
                <c:pt idx="73">
                  <c:v>643.15058313300256</c:v>
                </c:pt>
                <c:pt idx="74">
                  <c:v>619.31944210314725</c:v>
                </c:pt>
                <c:pt idx="75">
                  <c:v>597.17237083969894</c:v>
                </c:pt>
                <c:pt idx="76">
                  <c:v>574.6618578429252</c:v>
                </c:pt>
                <c:pt idx="77">
                  <c:v>552.26398231219684</c:v>
                </c:pt>
                <c:pt idx="78">
                  <c:v>531.05329582285685</c:v>
                </c:pt>
                <c:pt idx="79">
                  <c:v>510.79310230645638</c:v>
                </c:pt>
                <c:pt idx="80">
                  <c:v>488.83822592786868</c:v>
                </c:pt>
                <c:pt idx="81">
                  <c:v>467.67344128951396</c:v>
                </c:pt>
                <c:pt idx="82">
                  <c:v>448.02313842597414</c:v>
                </c:pt>
                <c:pt idx="83">
                  <c:v>428.45065129823337</c:v>
                </c:pt>
                <c:pt idx="84">
                  <c:v>408.7599528177588</c:v>
                </c:pt>
                <c:pt idx="85">
                  <c:v>389.93528291151381</c:v>
                </c:pt>
                <c:pt idx="86">
                  <c:v>370.78460213218438</c:v>
                </c:pt>
                <c:pt idx="87">
                  <c:v>351.38407397894792</c:v>
                </c:pt>
                <c:pt idx="88">
                  <c:v>333.22628202150179</c:v>
                </c:pt>
                <c:pt idx="89">
                  <c:v>315.91559031776967</c:v>
                </c:pt>
                <c:pt idx="90">
                  <c:v>299.5975726484715</c:v>
                </c:pt>
                <c:pt idx="91">
                  <c:v>283.5084740833762</c:v>
                </c:pt>
                <c:pt idx="92">
                  <c:v>268.09904699533365</c:v>
                </c:pt>
                <c:pt idx="93">
                  <c:v>253.50919820612387</c:v>
                </c:pt>
                <c:pt idx="94">
                  <c:v>238.26506366803059</c:v>
                </c:pt>
                <c:pt idx="95">
                  <c:v>223.84720689669749</c:v>
                </c:pt>
                <c:pt idx="96">
                  <c:v>210.45474675055766</c:v>
                </c:pt>
                <c:pt idx="97">
                  <c:v>197.56229786075949</c:v>
                </c:pt>
                <c:pt idx="98">
                  <c:v>184.88330054629225</c:v>
                </c:pt>
                <c:pt idx="99">
                  <c:v>173.0336194003512</c:v>
                </c:pt>
                <c:pt idx="100">
                  <c:v>161.41383267135095</c:v>
                </c:pt>
                <c:pt idx="101">
                  <c:v>149.54709542682937</c:v>
                </c:pt>
                <c:pt idx="102">
                  <c:v>138.42642850124838</c:v>
                </c:pt>
                <c:pt idx="103">
                  <c:v>127.91109823770958</c:v>
                </c:pt>
                <c:pt idx="104">
                  <c:v>117.66721012126079</c:v>
                </c:pt>
                <c:pt idx="105">
                  <c:v>107.53744634859336</c:v>
                </c:pt>
                <c:pt idx="106">
                  <c:v>98.347413158346498</c:v>
                </c:pt>
                <c:pt idx="107">
                  <c:v>89.636833530521102</c:v>
                </c:pt>
                <c:pt idx="108">
                  <c:v>80.476026490278628</c:v>
                </c:pt>
                <c:pt idx="109">
                  <c:v>72.809885109695273</c:v>
                </c:pt>
                <c:pt idx="110">
                  <c:v>65.488579633950224</c:v>
                </c:pt>
                <c:pt idx="111">
                  <c:v>58.505846955618701</c:v>
                </c:pt>
                <c:pt idx="112">
                  <c:v>51.8551623513858</c:v>
                </c:pt>
                <c:pt idx="113">
                  <c:v>45.5295582845634</c:v>
                </c:pt>
                <c:pt idx="114">
                  <c:v>39.521171003230023</c:v>
                </c:pt>
                <c:pt idx="115">
                  <c:v>33.821342652534838</c:v>
                </c:pt>
                <c:pt idx="116">
                  <c:v>29.4206970929242</c:v>
                </c:pt>
                <c:pt idx="117">
                  <c:v>26.130109110113732</c:v>
                </c:pt>
                <c:pt idx="118">
                  <c:v>24.555344408699302</c:v>
                </c:pt>
                <c:pt idx="119">
                  <c:v>23.078213963426826</c:v>
                </c:pt>
                <c:pt idx="120">
                  <c:v>21.692072086779437</c:v>
                </c:pt>
                <c:pt idx="121">
                  <c:v>20.390521167433207</c:v>
                </c:pt>
                <c:pt idx="122">
                  <c:v>19.167445807307185</c:v>
                </c:pt>
                <c:pt idx="123">
                  <c:v>18.017073431231552</c:v>
                </c:pt>
                <c:pt idx="124">
                  <c:v>16.934026890438684</c:v>
                </c:pt>
                <c:pt idx="125">
                  <c:v>15.913366862576664</c:v>
                </c:pt>
                <c:pt idx="126">
                  <c:v>14.950616031626522</c:v>
                </c:pt>
                <c:pt idx="127">
                  <c:v>14.041752401203619</c:v>
                </c:pt>
                <c:pt idx="128">
                  <c:v>13.183178045862608</c:v>
                </c:pt>
                <c:pt idx="129">
                  <c:v>12.371678381775382</c:v>
                </c:pt>
                <c:pt idx="130">
                  <c:v>11.604377977776105</c:v>
                </c:pt>
                <c:pt idx="131">
                  <c:v>10.87869579206248</c:v>
                </c:pt>
                <c:pt idx="132">
                  <c:v>10.192305033759391</c:v>
                </c:pt>
                <c:pt idx="133">
                  <c:v>9.5430964431281335</c:v>
                </c:pt>
                <c:pt idx="134">
                  <c:v>8.9291467110275065</c:v>
                </c:pt>
                <c:pt idx="135">
                  <c:v>8.3486904849276993</c:v>
                </c:pt>
                <c:pt idx="136">
                  <c:v>7.8000974856407446</c:v>
                </c:pt>
                <c:pt idx="137">
                  <c:v>7.281852447570123</c:v>
                </c:pt>
                <c:pt idx="138">
                  <c:v>6.7925375725303105</c:v>
                </c:pt>
                <c:pt idx="139">
                  <c:v>6.33081837318028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AE2-42EA-A44F-23A358B5B2EF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D$2:$D$141</c:f>
              <c:numCache>
                <c:formatCode>General</c:formatCode>
                <c:ptCount val="140"/>
                <c:pt idx="10">
                  <c:v>1333.7582518430186</c:v>
                </c:pt>
                <c:pt idx="11">
                  <c:v>1376.706904211208</c:v>
                </c:pt>
                <c:pt idx="12">
                  <c:v>1423.2811499639101</c:v>
                </c:pt>
                <c:pt idx="13">
                  <c:v>1470.540367327066</c:v>
                </c:pt>
                <c:pt idx="14">
                  <c:v>1518.4134183552167</c:v>
                </c:pt>
                <c:pt idx="15">
                  <c:v>1568.6722926947714</c:v>
                </c:pt>
                <c:pt idx="16">
                  <c:v>1616.6484258167636</c:v>
                </c:pt>
                <c:pt idx="17">
                  <c:v>1656.596422477679</c:v>
                </c:pt>
                <c:pt idx="18">
                  <c:v>1696.1606878389841</c:v>
                </c:pt>
                <c:pt idx="19">
                  <c:v>1734.9619903982959</c:v>
                </c:pt>
                <c:pt idx="20">
                  <c:v>1772.3993743159122</c:v>
                </c:pt>
                <c:pt idx="21">
                  <c:v>1803.1915037422291</c:v>
                </c:pt>
                <c:pt idx="22">
                  <c:v>1833.4167867118485</c:v>
                </c:pt>
                <c:pt idx="23">
                  <c:v>1858.0379437855881</c:v>
                </c:pt>
                <c:pt idx="24">
                  <c:v>1870.7773782689137</c:v>
                </c:pt>
                <c:pt idx="25">
                  <c:v>1878.239140959515</c:v>
                </c:pt>
                <c:pt idx="26">
                  <c:v>1886.6396911228833</c:v>
                </c:pt>
                <c:pt idx="27">
                  <c:v>1890.6485952884364</c:v>
                </c:pt>
                <c:pt idx="28">
                  <c:v>1891.3767357115437</c:v>
                </c:pt>
                <c:pt idx="29">
                  <c:v>1889.9402103680266</c:v>
                </c:pt>
                <c:pt idx="30">
                  <c:v>1884.024894908036</c:v>
                </c:pt>
                <c:pt idx="31">
                  <c:v>1870.8592857919334</c:v>
                </c:pt>
                <c:pt idx="32">
                  <c:v>1855.9196566125672</c:v>
                </c:pt>
                <c:pt idx="33">
                  <c:v>1842.6228698821585</c:v>
                </c:pt>
                <c:pt idx="34">
                  <c:v>1826.6988606255541</c:v>
                </c:pt>
                <c:pt idx="35">
                  <c:v>1807.4020012797575</c:v>
                </c:pt>
                <c:pt idx="36">
                  <c:v>1786.4011478469031</c:v>
                </c:pt>
                <c:pt idx="37">
                  <c:v>1762.9406490876938</c:v>
                </c:pt>
                <c:pt idx="38">
                  <c:v>1732.0419695653452</c:v>
                </c:pt>
                <c:pt idx="39">
                  <c:v>1700.7036096217244</c:v>
                </c:pt>
                <c:pt idx="40">
                  <c:v>1671.2402059355529</c:v>
                </c:pt>
                <c:pt idx="41">
                  <c:v>1640.0965599856893</c:v>
                </c:pt>
                <c:pt idx="42">
                  <c:v>1607.276023145278</c:v>
                </c:pt>
                <c:pt idx="43">
                  <c:v>1575.7228716492125</c:v>
                </c:pt>
                <c:pt idx="44">
                  <c:v>1543.3265142670166</c:v>
                </c:pt>
                <c:pt idx="45">
                  <c:v>1503.9074612304696</c:v>
                </c:pt>
                <c:pt idx="46">
                  <c:v>1465.9775938206446</c:v>
                </c:pt>
                <c:pt idx="47">
                  <c:v>1430.8487470160674</c:v>
                </c:pt>
                <c:pt idx="48">
                  <c:v>1395.6372230630682</c:v>
                </c:pt>
                <c:pt idx="49">
                  <c:v>1359.2956744667454</c:v>
                </c:pt>
                <c:pt idx="50">
                  <c:v>1324.780175297931</c:v>
                </c:pt>
                <c:pt idx="51">
                  <c:v>1291.5520054600499</c:v>
                </c:pt>
                <c:pt idx="52">
                  <c:v>1253.305810998713</c:v>
                </c:pt>
                <c:pt idx="53">
                  <c:v>1216.1766986686584</c:v>
                </c:pt>
                <c:pt idx="54">
                  <c:v>1181.5377852231934</c:v>
                </c:pt>
                <c:pt idx="55">
                  <c:v>1148.2893114055005</c:v>
                </c:pt>
                <c:pt idx="56">
                  <c:v>1117.3171356791065</c:v>
                </c:pt>
                <c:pt idx="57">
                  <c:v>1086.4985905725487</c:v>
                </c:pt>
                <c:pt idx="58">
                  <c:v>1054.8848232547837</c:v>
                </c:pt>
                <c:pt idx="59">
                  <c:v>1021.207025130917</c:v>
                </c:pt>
                <c:pt idx="60">
                  <c:v>987.04590965282443</c:v>
                </c:pt>
                <c:pt idx="61">
                  <c:v>955.27615634161316</c:v>
                </c:pt>
                <c:pt idx="62">
                  <c:v>924.87740863287911</c:v>
                </c:pt>
                <c:pt idx="63">
                  <c:v>894.48086694860638</c:v>
                </c:pt>
                <c:pt idx="64">
                  <c:v>867.85635274546871</c:v>
                </c:pt>
                <c:pt idx="65">
                  <c:v>841.2511018480792</c:v>
                </c:pt>
                <c:pt idx="66">
                  <c:v>812.80658683936383</c:v>
                </c:pt>
                <c:pt idx="67">
                  <c:v>785.85545150537189</c:v>
                </c:pt>
                <c:pt idx="68">
                  <c:v>761.16896593346428</c:v>
                </c:pt>
                <c:pt idx="69">
                  <c:v>735.98125255698824</c:v>
                </c:pt>
                <c:pt idx="70">
                  <c:v>712.06047850291316</c:v>
                </c:pt>
                <c:pt idx="71">
                  <c:v>689.41810905530485</c:v>
                </c:pt>
                <c:pt idx="72">
                  <c:v>667.12532294555047</c:v>
                </c:pt>
                <c:pt idx="73">
                  <c:v>643.15058313300256</c:v>
                </c:pt>
                <c:pt idx="74">
                  <c:v>619.31944210314725</c:v>
                </c:pt>
                <c:pt idx="75">
                  <c:v>597.17237083969894</c:v>
                </c:pt>
                <c:pt idx="76">
                  <c:v>574.6618578429252</c:v>
                </c:pt>
                <c:pt idx="77">
                  <c:v>552.26398231219684</c:v>
                </c:pt>
                <c:pt idx="78">
                  <c:v>531.05329582285685</c:v>
                </c:pt>
                <c:pt idx="79">
                  <c:v>510.79310230645638</c:v>
                </c:pt>
                <c:pt idx="80">
                  <c:v>488.83822592786868</c:v>
                </c:pt>
                <c:pt idx="81">
                  <c:v>467.67344128951396</c:v>
                </c:pt>
                <c:pt idx="82">
                  <c:v>448.02313842597414</c:v>
                </c:pt>
                <c:pt idx="83">
                  <c:v>428.45065129823337</c:v>
                </c:pt>
                <c:pt idx="84">
                  <c:v>408.7599528177588</c:v>
                </c:pt>
                <c:pt idx="85">
                  <c:v>389.93528291151381</c:v>
                </c:pt>
                <c:pt idx="86">
                  <c:v>370.78460213218438</c:v>
                </c:pt>
                <c:pt idx="87">
                  <c:v>351.38407397894792</c:v>
                </c:pt>
                <c:pt idx="88">
                  <c:v>333.22628202150179</c:v>
                </c:pt>
                <c:pt idx="89">
                  <c:v>315.91559031776967</c:v>
                </c:pt>
                <c:pt idx="90">
                  <c:v>299.5975726484715</c:v>
                </c:pt>
                <c:pt idx="91">
                  <c:v>283.5084740833762</c:v>
                </c:pt>
                <c:pt idx="92">
                  <c:v>268.21986744507655</c:v>
                </c:pt>
                <c:pt idx="93">
                  <c:v>253.94840558027843</c:v>
                </c:pt>
                <c:pt idx="94">
                  <c:v>239.25537324550692</c:v>
                </c:pt>
                <c:pt idx="95">
                  <c:v>225.64152227918424</c:v>
                </c:pt>
                <c:pt idx="96">
                  <c:v>213.32098883430933</c:v>
                </c:pt>
                <c:pt idx="97">
                  <c:v>201.77299238298284</c:v>
                </c:pt>
                <c:pt idx="98">
                  <c:v>190.70538069135276</c:v>
                </c:pt>
                <c:pt idx="99">
                  <c:v>180.84069704418098</c:v>
                </c:pt>
                <c:pt idx="100">
                  <c:v>171.6089209801105</c:v>
                </c:pt>
                <c:pt idx="101">
                  <c:v>162.49650765239755</c:v>
                </c:pt>
                <c:pt idx="102">
                  <c:v>154.54750551814232</c:v>
                </c:pt>
                <c:pt idx="103">
                  <c:v>147.60367619783608</c:v>
                </c:pt>
                <c:pt idx="104">
                  <c:v>141.25747263720049</c:v>
                </c:pt>
                <c:pt idx="105">
                  <c:v>135.2564031548402</c:v>
                </c:pt>
                <c:pt idx="106">
                  <c:v>130.60077118880116</c:v>
                </c:pt>
                <c:pt idx="107">
                  <c:v>126.72650425643683</c:v>
                </c:pt>
                <c:pt idx="108">
                  <c:v>122.21733908708741</c:v>
                </c:pt>
                <c:pt idx="109">
                  <c:v>119.92456500675694</c:v>
                </c:pt>
                <c:pt idx="110">
                  <c:v>118.19592824012004</c:v>
                </c:pt>
                <c:pt idx="111">
                  <c:v>116.9960196352545</c:v>
                </c:pt>
                <c:pt idx="112">
                  <c:v>116.29228237485675</c:v>
                </c:pt>
                <c:pt idx="113">
                  <c:v>116.0541858537994</c:v>
                </c:pt>
                <c:pt idx="114">
                  <c:v>116.25023259784413</c:v>
                </c:pt>
                <c:pt idx="115">
                  <c:v>116.84920151241182</c:v>
                </c:pt>
                <c:pt idx="116">
                  <c:v>117.82049994748219</c:v>
                </c:pt>
                <c:pt idx="117">
                  <c:v>119.13453376215789</c:v>
                </c:pt>
                <c:pt idx="118">
                  <c:v>120.76196271049584</c:v>
                </c:pt>
                <c:pt idx="119">
                  <c:v>122.67340378459639</c:v>
                </c:pt>
                <c:pt idx="120">
                  <c:v>124.8387210413884</c:v>
                </c:pt>
                <c:pt idx="121">
                  <c:v>127.22712986863239</c:v>
                </c:pt>
                <c:pt idx="122">
                  <c:v>129.80762764123165</c:v>
                </c:pt>
                <c:pt idx="123">
                  <c:v>132.54903297016997</c:v>
                </c:pt>
                <c:pt idx="124">
                  <c:v>135.42026908913931</c:v>
                </c:pt>
                <c:pt idx="125">
                  <c:v>138.39042559628521</c:v>
                </c:pt>
                <c:pt idx="126">
                  <c:v>141.4289623320347</c:v>
                </c:pt>
                <c:pt idx="127">
                  <c:v>144.50565383090924</c:v>
                </c:pt>
                <c:pt idx="128">
                  <c:v>147.59074921849196</c:v>
                </c:pt>
                <c:pt idx="129">
                  <c:v>150.65518504167679</c:v>
                </c:pt>
                <c:pt idx="130">
                  <c:v>153.67075041780393</c:v>
                </c:pt>
                <c:pt idx="131">
                  <c:v>156.61032742293</c:v>
                </c:pt>
                <c:pt idx="132">
                  <c:v>159.4480167143644</c:v>
                </c:pt>
                <c:pt idx="133">
                  <c:v>162.15919502315683</c:v>
                </c:pt>
                <c:pt idx="134">
                  <c:v>164.72059008367333</c:v>
                </c:pt>
                <c:pt idx="135">
                  <c:v>167.1103626054869</c:v>
                </c:pt>
                <c:pt idx="136">
                  <c:v>169.30823594525944</c:v>
                </c:pt>
                <c:pt idx="137">
                  <c:v>171.29557017503811</c:v>
                </c:pt>
                <c:pt idx="138">
                  <c:v>173.05544437965457</c:v>
                </c:pt>
                <c:pt idx="139">
                  <c:v>174.572671355578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AE2-42EA-A44F-23A358B5B2EF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F$2:$F$141</c:f>
              <c:numCache>
                <c:formatCode>General</c:formatCode>
                <c:ptCount val="14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7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G$2:$G$141</c:f>
              <c:numCache>
                <c:formatCode>General</c:formatCode>
                <c:ptCount val="140"/>
                <c:pt idx="0">
                  <c:v>713</c:v>
                </c:pt>
                <c:pt idx="1">
                  <c:v>754</c:v>
                </c:pt>
                <c:pt idx="2">
                  <c:v>798</c:v>
                </c:pt>
                <c:pt idx="3">
                  <c:v>726</c:v>
                </c:pt>
                <c:pt idx="4">
                  <c:v>774</c:v>
                </c:pt>
                <c:pt idx="5">
                  <c:v>558</c:v>
                </c:pt>
                <c:pt idx="6">
                  <c:v>591</c:v>
                </c:pt>
                <c:pt idx="7">
                  <c:v>919</c:v>
                </c:pt>
                <c:pt idx="8">
                  <c:v>841</c:v>
                </c:pt>
                <c:pt idx="9">
                  <c:v>837</c:v>
                </c:pt>
                <c:pt idx="10">
                  <c:v>913</c:v>
                </c:pt>
                <c:pt idx="11">
                  <c:v>890</c:v>
                </c:pt>
                <c:pt idx="12">
                  <c:v>711</c:v>
                </c:pt>
                <c:pt idx="13">
                  <c:v>645</c:v>
                </c:pt>
                <c:pt idx="14">
                  <c:v>1144</c:v>
                </c:pt>
                <c:pt idx="15">
                  <c:v>1040</c:v>
                </c:pt>
                <c:pt idx="16">
                  <c:v>859</c:v>
                </c:pt>
                <c:pt idx="17">
                  <c:v>912</c:v>
                </c:pt>
                <c:pt idx="18">
                  <c:v>901</c:v>
                </c:pt>
                <c:pt idx="19">
                  <c:v>743</c:v>
                </c:pt>
                <c:pt idx="20">
                  <c:v>713</c:v>
                </c:pt>
                <c:pt idx="21">
                  <c:v>1036</c:v>
                </c:pt>
                <c:pt idx="22">
                  <c:v>976</c:v>
                </c:pt>
                <c:pt idx="23">
                  <c:v>1026</c:v>
                </c:pt>
                <c:pt idx="24">
                  <c:v>928</c:v>
                </c:pt>
                <c:pt idx="25">
                  <c:v>969</c:v>
                </c:pt>
                <c:pt idx="26">
                  <c:v>746</c:v>
                </c:pt>
                <c:pt idx="27">
                  <c:v>652</c:v>
                </c:pt>
                <c:pt idx="28">
                  <c:v>1027</c:v>
                </c:pt>
                <c:pt idx="29">
                  <c:v>920</c:v>
                </c:pt>
                <c:pt idx="30">
                  <c:v>871</c:v>
                </c:pt>
                <c:pt idx="31">
                  <c:v>811</c:v>
                </c:pt>
                <c:pt idx="32">
                  <c:v>809</c:v>
                </c:pt>
                <c:pt idx="33">
                  <c:v>558</c:v>
                </c:pt>
                <c:pt idx="34">
                  <c:v>564</c:v>
                </c:pt>
                <c:pt idx="35">
                  <c:v>930</c:v>
                </c:pt>
                <c:pt idx="36">
                  <c:v>764</c:v>
                </c:pt>
                <c:pt idx="37">
                  <c:v>744</c:v>
                </c:pt>
                <c:pt idx="38">
                  <c:v>729</c:v>
                </c:pt>
                <c:pt idx="39">
                  <c:v>709</c:v>
                </c:pt>
                <c:pt idx="40">
                  <c:v>562</c:v>
                </c:pt>
                <c:pt idx="41">
                  <c:v>495</c:v>
                </c:pt>
                <c:pt idx="42">
                  <c:v>789</c:v>
                </c:pt>
                <c:pt idx="43">
                  <c:v>656</c:v>
                </c:pt>
                <c:pt idx="44">
                  <c:v>655</c:v>
                </c:pt>
                <c:pt idx="45">
                  <c:v>620</c:v>
                </c:pt>
                <c:pt idx="46">
                  <c:v>507</c:v>
                </c:pt>
                <c:pt idx="47">
                  <c:v>475</c:v>
                </c:pt>
                <c:pt idx="48">
                  <c:v>445</c:v>
                </c:pt>
                <c:pt idx="49">
                  <c:v>368</c:v>
                </c:pt>
                <c:pt idx="50">
                  <c:v>638</c:v>
                </c:pt>
                <c:pt idx="51">
                  <c:v>518</c:v>
                </c:pt>
                <c:pt idx="52">
                  <c:v>433</c:v>
                </c:pt>
                <c:pt idx="53">
                  <c:v>479</c:v>
                </c:pt>
                <c:pt idx="54">
                  <c:v>304</c:v>
                </c:pt>
                <c:pt idx="55">
                  <c:v>282</c:v>
                </c:pt>
                <c:pt idx="56">
                  <c:v>416</c:v>
                </c:pt>
                <c:pt idx="57">
                  <c:v>374</c:v>
                </c:pt>
                <c:pt idx="58">
                  <c:v>387</c:v>
                </c:pt>
                <c:pt idx="59">
                  <c:v>352</c:v>
                </c:pt>
                <c:pt idx="60">
                  <c:v>341</c:v>
                </c:pt>
                <c:pt idx="61">
                  <c:v>263</c:v>
                </c:pt>
                <c:pt idx="62">
                  <c:v>233</c:v>
                </c:pt>
                <c:pt idx="63">
                  <c:v>353</c:v>
                </c:pt>
                <c:pt idx="64">
                  <c:v>329</c:v>
                </c:pt>
                <c:pt idx="65">
                  <c:v>335</c:v>
                </c:pt>
                <c:pt idx="66">
                  <c:v>262</c:v>
                </c:pt>
                <c:pt idx="67">
                  <c:v>253</c:v>
                </c:pt>
                <c:pt idx="68">
                  <c:v>166</c:v>
                </c:pt>
                <c:pt idx="69">
                  <c:v>168</c:v>
                </c:pt>
                <c:pt idx="70">
                  <c:v>263</c:v>
                </c:pt>
                <c:pt idx="71">
                  <c:v>250</c:v>
                </c:pt>
                <c:pt idx="72">
                  <c:v>230</c:v>
                </c:pt>
                <c:pt idx="73">
                  <c:v>243</c:v>
                </c:pt>
                <c:pt idx="74">
                  <c:v>199</c:v>
                </c:pt>
                <c:pt idx="75">
                  <c:v>158</c:v>
                </c:pt>
                <c:pt idx="76">
                  <c:v>147</c:v>
                </c:pt>
                <c:pt idx="77">
                  <c:v>254</c:v>
                </c:pt>
                <c:pt idx="78">
                  <c:v>171</c:v>
                </c:pt>
                <c:pt idx="79">
                  <c:v>182</c:v>
                </c:pt>
                <c:pt idx="80">
                  <c:v>169</c:v>
                </c:pt>
                <c:pt idx="81">
                  <c:v>176</c:v>
                </c:pt>
                <c:pt idx="82">
                  <c:v>92</c:v>
                </c:pt>
                <c:pt idx="83">
                  <c:v>101</c:v>
                </c:pt>
                <c:pt idx="84">
                  <c:v>174</c:v>
                </c:pt>
                <c:pt idx="85">
                  <c:v>138</c:v>
                </c:pt>
                <c:pt idx="86">
                  <c:v>139</c:v>
                </c:pt>
                <c:pt idx="87">
                  <c:v>118</c:v>
                </c:pt>
                <c:pt idx="88">
                  <c:v>104</c:v>
                </c:pt>
                <c:pt idx="89">
                  <c:v>64</c:v>
                </c:pt>
                <c:pt idx="90">
                  <c:v>64</c:v>
                </c:pt>
                <c:pt idx="91">
                  <c:v>102</c:v>
                </c:pt>
                <c:pt idx="92">
                  <c:v>80</c:v>
                </c:pt>
                <c:pt idx="93">
                  <c:v>69</c:v>
                </c:pt>
                <c:pt idx="94">
                  <c:v>67</c:v>
                </c:pt>
                <c:pt idx="95">
                  <c:v>75</c:v>
                </c:pt>
                <c:pt idx="96">
                  <c:v>35</c:v>
                </c:pt>
                <c:pt idx="97">
                  <c:v>30</c:v>
                </c:pt>
                <c:pt idx="98">
                  <c:v>56</c:v>
                </c:pt>
                <c:pt idx="99">
                  <c:v>53</c:v>
                </c:pt>
                <c:pt idx="100">
                  <c:v>61</c:v>
                </c:pt>
                <c:pt idx="101">
                  <c:v>37</c:v>
                </c:pt>
                <c:pt idx="102">
                  <c:v>35</c:v>
                </c:pt>
                <c:pt idx="103">
                  <c:v>17</c:v>
                </c:pt>
                <c:pt idx="104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60-4826-BB40-446926342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C$2:$C$141</c:f>
              <c:numCache>
                <c:formatCode>General</c:formatCode>
                <c:ptCount val="140"/>
                <c:pt idx="10">
                  <c:v>884.1808908477542</c:v>
                </c:pt>
                <c:pt idx="11">
                  <c:v>903.48984987041331</c:v>
                </c:pt>
                <c:pt idx="12">
                  <c:v>923.96248363604536</c:v>
                </c:pt>
                <c:pt idx="13">
                  <c:v>945.77168824725959</c:v>
                </c:pt>
                <c:pt idx="14">
                  <c:v>967.22580366389593</c:v>
                </c:pt>
                <c:pt idx="15">
                  <c:v>982.22782549292606</c:v>
                </c:pt>
                <c:pt idx="16">
                  <c:v>991.87729111388035</c:v>
                </c:pt>
                <c:pt idx="17">
                  <c:v>997.93038322437496</c:v>
                </c:pt>
                <c:pt idx="18">
                  <c:v>1000.0599641929584</c:v>
                </c:pt>
                <c:pt idx="19">
                  <c:v>998.07810602161044</c:v>
                </c:pt>
                <c:pt idx="20">
                  <c:v>994.27052054043452</c:v>
                </c:pt>
                <c:pt idx="21">
                  <c:v>989.17137962304696</c:v>
                </c:pt>
                <c:pt idx="22">
                  <c:v>982.06998019374441</c:v>
                </c:pt>
                <c:pt idx="23">
                  <c:v>973.03389301509014</c:v>
                </c:pt>
                <c:pt idx="24">
                  <c:v>962.34123819423257</c:v>
                </c:pt>
                <c:pt idx="25">
                  <c:v>949.88730844785459</c:v>
                </c:pt>
                <c:pt idx="26">
                  <c:v>936.00007292370719</c:v>
                </c:pt>
                <c:pt idx="27">
                  <c:v>921.28825080122624</c:v>
                </c:pt>
                <c:pt idx="28">
                  <c:v>905.78580372291617</c:v>
                </c:pt>
                <c:pt idx="29">
                  <c:v>889.3483358581434</c:v>
                </c:pt>
                <c:pt idx="30">
                  <c:v>872.2531295013323</c:v>
                </c:pt>
                <c:pt idx="31">
                  <c:v>854.56607598339906</c:v>
                </c:pt>
                <c:pt idx="32">
                  <c:v>836.10595641966211</c:v>
                </c:pt>
                <c:pt idx="33">
                  <c:v>816.93293821060797</c:v>
                </c:pt>
                <c:pt idx="34">
                  <c:v>797.35964099262492</c:v>
                </c:pt>
                <c:pt idx="35">
                  <c:v>777.66803915568744</c:v>
                </c:pt>
                <c:pt idx="36">
                  <c:v>757.98565881408285</c:v>
                </c:pt>
                <c:pt idx="37">
                  <c:v>738.25014840060612</c:v>
                </c:pt>
                <c:pt idx="38">
                  <c:v>718.32242084281461</c:v>
                </c:pt>
                <c:pt idx="39">
                  <c:v>698.27947891181975</c:v>
                </c:pt>
                <c:pt idx="40">
                  <c:v>678.27225118296337</c:v>
                </c:pt>
                <c:pt idx="41">
                  <c:v>658.45607487169036</c:v>
                </c:pt>
                <c:pt idx="42">
                  <c:v>638.96093019294494</c:v>
                </c:pt>
                <c:pt idx="43">
                  <c:v>619.8052148600982</c:v>
                </c:pt>
                <c:pt idx="44">
                  <c:v>600.98213226540247</c:v>
                </c:pt>
                <c:pt idx="45">
                  <c:v>582.48992110969266</c:v>
                </c:pt>
                <c:pt idx="46">
                  <c:v>564.33626412850572</c:v>
                </c:pt>
                <c:pt idx="47">
                  <c:v>546.54895187870716</c:v>
                </c:pt>
                <c:pt idx="48">
                  <c:v>529.20753116181004</c:v>
                </c:pt>
                <c:pt idx="49">
                  <c:v>512.37725447420962</c:v>
                </c:pt>
                <c:pt idx="50">
                  <c:v>496.03660147005576</c:v>
                </c:pt>
                <c:pt idx="51">
                  <c:v>480.14133899398439</c:v>
                </c:pt>
                <c:pt idx="52">
                  <c:v>464.665030504475</c:v>
                </c:pt>
                <c:pt idx="53">
                  <c:v>449.58225914594368</c:v>
                </c:pt>
                <c:pt idx="54">
                  <c:v>434.93902071066259</c:v>
                </c:pt>
                <c:pt idx="55">
                  <c:v>420.77658190853253</c:v>
                </c:pt>
                <c:pt idx="56">
                  <c:v>407.11383969598683</c:v>
                </c:pt>
                <c:pt idx="57">
                  <c:v>393.95197051356081</c:v>
                </c:pt>
                <c:pt idx="58">
                  <c:v>381.23855173782795</c:v>
                </c:pt>
                <c:pt idx="59">
                  <c:v>368.9094292842492</c:v>
                </c:pt>
                <c:pt idx="60">
                  <c:v>356.87618926860159</c:v>
                </c:pt>
                <c:pt idx="61">
                  <c:v>345.08817590840044</c:v>
                </c:pt>
                <c:pt idx="62">
                  <c:v>333.58119746358716</c:v>
                </c:pt>
                <c:pt idx="63">
                  <c:v>322.39502973535855</c:v>
                </c:pt>
                <c:pt idx="64">
                  <c:v>311.47573102879687</c:v>
                </c:pt>
                <c:pt idx="65">
                  <c:v>300.78671728570771</c:v>
                </c:pt>
                <c:pt idx="66">
                  <c:v>290.2984223505191</c:v>
                </c:pt>
                <c:pt idx="67">
                  <c:v>279.97407073508657</c:v>
                </c:pt>
                <c:pt idx="68">
                  <c:v>269.81442974843958</c:v>
                </c:pt>
                <c:pt idx="69">
                  <c:v>259.88248493513674</c:v>
                </c:pt>
                <c:pt idx="70">
                  <c:v>250.22912703361362</c:v>
                </c:pt>
                <c:pt idx="71">
                  <c:v>240.81185430014739</c:v>
                </c:pt>
                <c:pt idx="72">
                  <c:v>231.59812852321193</c:v>
                </c:pt>
                <c:pt idx="73">
                  <c:v>222.55486508956528</c:v>
                </c:pt>
                <c:pt idx="74">
                  <c:v>213.64872062057839</c:v>
                </c:pt>
                <c:pt idx="75">
                  <c:v>204.88845825876342</c:v>
                </c:pt>
                <c:pt idx="76">
                  <c:v>196.34290975975455</c:v>
                </c:pt>
                <c:pt idx="77">
                  <c:v>188.0666587598389</c:v>
                </c:pt>
                <c:pt idx="78">
                  <c:v>180.02481272409204</c:v>
                </c:pt>
                <c:pt idx="79">
                  <c:v>172.19769917841768</c:v>
                </c:pt>
                <c:pt idx="80">
                  <c:v>164.56666051354841</c:v>
                </c:pt>
                <c:pt idx="81">
                  <c:v>157.12740276678232</c:v>
                </c:pt>
                <c:pt idx="82">
                  <c:v>149.89663935554563</c:v>
                </c:pt>
                <c:pt idx="83">
                  <c:v>142.92824784154072</c:v>
                </c:pt>
                <c:pt idx="84">
                  <c:v>136.25293674130808</c:v>
                </c:pt>
                <c:pt idx="85">
                  <c:v>129.85145851355628</c:v>
                </c:pt>
                <c:pt idx="86">
                  <c:v>123.7051756332512</c:v>
                </c:pt>
                <c:pt idx="87">
                  <c:v>117.79850991253625</c:v>
                </c:pt>
                <c:pt idx="88">
                  <c:v>112.11879586728173</c:v>
                </c:pt>
                <c:pt idx="89">
                  <c:v>106.663963914325</c:v>
                </c:pt>
                <c:pt idx="90">
                  <c:v>101.45146924094297</c:v>
                </c:pt>
                <c:pt idx="91">
                  <c:v>96.490828796318965</c:v>
                </c:pt>
                <c:pt idx="92">
                  <c:v>91.764299370493973</c:v>
                </c:pt>
                <c:pt idx="93">
                  <c:v>87.244280341721606</c:v>
                </c:pt>
                <c:pt idx="94">
                  <c:v>82.910026989207836</c:v>
                </c:pt>
                <c:pt idx="95">
                  <c:v>78.746805773174856</c:v>
                </c:pt>
                <c:pt idx="96">
                  <c:v>74.744046775682364</c:v>
                </c:pt>
                <c:pt idx="97">
                  <c:v>70.893572568689706</c:v>
                </c:pt>
                <c:pt idx="98">
                  <c:v>67.188202619348885</c:v>
                </c:pt>
                <c:pt idx="99">
                  <c:v>63.621352210146142</c:v>
                </c:pt>
                <c:pt idx="100">
                  <c:v>60.18717988798744</c:v>
                </c:pt>
                <c:pt idx="101">
                  <c:v>56.884065439371625</c:v>
                </c:pt>
                <c:pt idx="102">
                  <c:v>53.709972973098047</c:v>
                </c:pt>
                <c:pt idx="103">
                  <c:v>50.662486589106265</c:v>
                </c:pt>
                <c:pt idx="104">
                  <c:v>47.739171142602572</c:v>
                </c:pt>
                <c:pt idx="105">
                  <c:v>44.939013241004432</c:v>
                </c:pt>
                <c:pt idx="106">
                  <c:v>42.271329460840207</c:v>
                </c:pt>
                <c:pt idx="107">
                  <c:v>39.74072020870517</c:v>
                </c:pt>
                <c:pt idx="108">
                  <c:v>37.347123361978447</c:v>
                </c:pt>
                <c:pt idx="109">
                  <c:v>35.087708429578925</c:v>
                </c:pt>
                <c:pt idx="110">
                  <c:v>32.959169816516805</c:v>
                </c:pt>
                <c:pt idx="111">
                  <c:v>30.957024218543665</c:v>
                </c:pt>
                <c:pt idx="112">
                  <c:v>29.077149988414021</c:v>
                </c:pt>
                <c:pt idx="113">
                  <c:v>27.314582168037305</c:v>
                </c:pt>
                <c:pt idx="114">
                  <c:v>25.662116727093235</c:v>
                </c:pt>
                <c:pt idx="115">
                  <c:v>24.112844018352916</c:v>
                </c:pt>
                <c:pt idx="116">
                  <c:v>22.660188348585507</c:v>
                </c:pt>
                <c:pt idx="117">
                  <c:v>21.297797585255466</c:v>
                </c:pt>
                <c:pt idx="118">
                  <c:v>20.019496838736814</c:v>
                </c:pt>
                <c:pt idx="119">
                  <c:v>18.819321336079156</c:v>
                </c:pt>
                <c:pt idx="120">
                  <c:v>17.691552469477756</c:v>
                </c:pt>
                <c:pt idx="121">
                  <c:v>16.630763756751548</c:v>
                </c:pt>
                <c:pt idx="122">
                  <c:v>15.63191041603568</c:v>
                </c:pt>
                <c:pt idx="123">
                  <c:v>14.690405682194978</c:v>
                </c:pt>
                <c:pt idx="124">
                  <c:v>13.802116592036327</c:v>
                </c:pt>
                <c:pt idx="125">
                  <c:v>12.963352765247691</c:v>
                </c:pt>
                <c:pt idx="126">
                  <c:v>12.170827960420866</c:v>
                </c:pt>
                <c:pt idx="127">
                  <c:v>11.421606660383986</c:v>
                </c:pt>
                <c:pt idx="128">
                  <c:v>10.713066605356289</c:v>
                </c:pt>
                <c:pt idx="129">
                  <c:v>10.042850659228861</c:v>
                </c:pt>
                <c:pt idx="130">
                  <c:v>9.4088395637809299</c:v>
                </c:pt>
                <c:pt idx="131">
                  <c:v>8.8091108340595383</c:v>
                </c:pt>
                <c:pt idx="132">
                  <c:v>8.2419067683513276</c:v>
                </c:pt>
                <c:pt idx="133">
                  <c:v>7.705612818186637</c:v>
                </c:pt>
                <c:pt idx="134">
                  <c:v>7.1987332621647511</c:v>
                </c:pt>
                <c:pt idx="135">
                  <c:v>6.7198805748485029</c:v>
                </c:pt>
                <c:pt idx="136">
                  <c:v>6.2677579974988475</c:v>
                </c:pt>
                <c:pt idx="137">
                  <c:v>5.8411406279774383</c:v>
                </c:pt>
                <c:pt idx="138">
                  <c:v>5.4388654348440468</c:v>
                </c:pt>
                <c:pt idx="139">
                  <c:v>5.05982263354235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D60-4826-BB40-44692634279D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D$2:$D$141</c:f>
              <c:numCache>
                <c:formatCode>General</c:formatCode>
                <c:ptCount val="140"/>
                <c:pt idx="10">
                  <c:v>884.1808908477542</c:v>
                </c:pt>
                <c:pt idx="11">
                  <c:v>903.48984987041331</c:v>
                </c:pt>
                <c:pt idx="12">
                  <c:v>923.96248363604536</c:v>
                </c:pt>
                <c:pt idx="13">
                  <c:v>945.77168824725959</c:v>
                </c:pt>
                <c:pt idx="14">
                  <c:v>967.22580366389593</c:v>
                </c:pt>
                <c:pt idx="15">
                  <c:v>982.22782549292606</c:v>
                </c:pt>
                <c:pt idx="16">
                  <c:v>991.87729111388035</c:v>
                </c:pt>
                <c:pt idx="17">
                  <c:v>997.93038322437496</c:v>
                </c:pt>
                <c:pt idx="18">
                  <c:v>1000.0599641929584</c:v>
                </c:pt>
                <c:pt idx="19">
                  <c:v>998.07810602161044</c:v>
                </c:pt>
                <c:pt idx="20">
                  <c:v>994.27052054043452</c:v>
                </c:pt>
                <c:pt idx="21">
                  <c:v>989.17137962304696</c:v>
                </c:pt>
                <c:pt idx="22">
                  <c:v>982.06998019374441</c:v>
                </c:pt>
                <c:pt idx="23">
                  <c:v>973.03389301509014</c:v>
                </c:pt>
                <c:pt idx="24">
                  <c:v>962.34123819423257</c:v>
                </c:pt>
                <c:pt idx="25">
                  <c:v>949.88730844785459</c:v>
                </c:pt>
                <c:pt idx="26">
                  <c:v>936.00007292370719</c:v>
                </c:pt>
                <c:pt idx="27">
                  <c:v>921.28825080122624</c:v>
                </c:pt>
                <c:pt idx="28">
                  <c:v>905.78580372291617</c:v>
                </c:pt>
                <c:pt idx="29">
                  <c:v>889.3483358581434</c:v>
                </c:pt>
                <c:pt idx="30">
                  <c:v>872.2531295013323</c:v>
                </c:pt>
                <c:pt idx="31">
                  <c:v>854.56607598339906</c:v>
                </c:pt>
                <c:pt idx="32">
                  <c:v>836.10595641966211</c:v>
                </c:pt>
                <c:pt idx="33">
                  <c:v>816.93293821060797</c:v>
                </c:pt>
                <c:pt idx="34">
                  <c:v>797.35964099262492</c:v>
                </c:pt>
                <c:pt idx="35">
                  <c:v>777.66803915568744</c:v>
                </c:pt>
                <c:pt idx="36">
                  <c:v>757.98565881408285</c:v>
                </c:pt>
                <c:pt idx="37">
                  <c:v>738.25014840060612</c:v>
                </c:pt>
                <c:pt idx="38">
                  <c:v>718.32242084281461</c:v>
                </c:pt>
                <c:pt idx="39">
                  <c:v>698.27947891181975</c:v>
                </c:pt>
                <c:pt idx="40">
                  <c:v>678.27225118296337</c:v>
                </c:pt>
                <c:pt idx="41">
                  <c:v>658.45607487169036</c:v>
                </c:pt>
                <c:pt idx="42">
                  <c:v>638.96093019294494</c:v>
                </c:pt>
                <c:pt idx="43">
                  <c:v>619.8052148600982</c:v>
                </c:pt>
                <c:pt idx="44">
                  <c:v>600.98213226540247</c:v>
                </c:pt>
                <c:pt idx="45">
                  <c:v>582.48992110969266</c:v>
                </c:pt>
                <c:pt idx="46">
                  <c:v>564.33626412850572</c:v>
                </c:pt>
                <c:pt idx="47">
                  <c:v>546.54895187870716</c:v>
                </c:pt>
                <c:pt idx="48">
                  <c:v>529.20753116181004</c:v>
                </c:pt>
                <c:pt idx="49">
                  <c:v>512.37725447420962</c:v>
                </c:pt>
                <c:pt idx="50">
                  <c:v>496.03660147005576</c:v>
                </c:pt>
                <c:pt idx="51">
                  <c:v>480.14133899398439</c:v>
                </c:pt>
                <c:pt idx="52">
                  <c:v>464.665030504475</c:v>
                </c:pt>
                <c:pt idx="53">
                  <c:v>449.58225914594368</c:v>
                </c:pt>
                <c:pt idx="54">
                  <c:v>434.93902071066259</c:v>
                </c:pt>
                <c:pt idx="55">
                  <c:v>420.77658190853253</c:v>
                </c:pt>
                <c:pt idx="56">
                  <c:v>407.11383969598683</c:v>
                </c:pt>
                <c:pt idx="57">
                  <c:v>393.95197051356081</c:v>
                </c:pt>
                <c:pt idx="58">
                  <c:v>381.23855173782795</c:v>
                </c:pt>
                <c:pt idx="59">
                  <c:v>368.9094292842492</c:v>
                </c:pt>
                <c:pt idx="60">
                  <c:v>356.87618926860159</c:v>
                </c:pt>
                <c:pt idx="61">
                  <c:v>345.08817590840044</c:v>
                </c:pt>
                <c:pt idx="62">
                  <c:v>333.58119746358716</c:v>
                </c:pt>
                <c:pt idx="63">
                  <c:v>322.39502973535855</c:v>
                </c:pt>
                <c:pt idx="64">
                  <c:v>311.47573102879687</c:v>
                </c:pt>
                <c:pt idx="65">
                  <c:v>300.78671728570771</c:v>
                </c:pt>
                <c:pt idx="66">
                  <c:v>290.2984223505191</c:v>
                </c:pt>
                <c:pt idx="67">
                  <c:v>279.97407073508657</c:v>
                </c:pt>
                <c:pt idx="68">
                  <c:v>269.81442974843958</c:v>
                </c:pt>
                <c:pt idx="69">
                  <c:v>259.88248493513674</c:v>
                </c:pt>
                <c:pt idx="70">
                  <c:v>250.22912703361362</c:v>
                </c:pt>
                <c:pt idx="71">
                  <c:v>240.81185430014739</c:v>
                </c:pt>
                <c:pt idx="72">
                  <c:v>231.59812852321193</c:v>
                </c:pt>
                <c:pt idx="73">
                  <c:v>222.55486508956528</c:v>
                </c:pt>
                <c:pt idx="74">
                  <c:v>213.64872062057839</c:v>
                </c:pt>
                <c:pt idx="75">
                  <c:v>204.88845825876342</c:v>
                </c:pt>
                <c:pt idx="76">
                  <c:v>196.34290975975455</c:v>
                </c:pt>
                <c:pt idx="77">
                  <c:v>188.0666587598389</c:v>
                </c:pt>
                <c:pt idx="78">
                  <c:v>180.02481272409204</c:v>
                </c:pt>
                <c:pt idx="79">
                  <c:v>172.19769917841768</c:v>
                </c:pt>
                <c:pt idx="80">
                  <c:v>164.56666051354841</c:v>
                </c:pt>
                <c:pt idx="81">
                  <c:v>157.12740276678232</c:v>
                </c:pt>
                <c:pt idx="82">
                  <c:v>149.89663935554563</c:v>
                </c:pt>
                <c:pt idx="83">
                  <c:v>142.92824784154072</c:v>
                </c:pt>
                <c:pt idx="84">
                  <c:v>136.25293674130808</c:v>
                </c:pt>
                <c:pt idx="85">
                  <c:v>129.85145851355628</c:v>
                </c:pt>
                <c:pt idx="86">
                  <c:v>123.7051756332512</c:v>
                </c:pt>
                <c:pt idx="87">
                  <c:v>117.79850991253625</c:v>
                </c:pt>
                <c:pt idx="88">
                  <c:v>112.11879586728173</c:v>
                </c:pt>
                <c:pt idx="89">
                  <c:v>106.663963914325</c:v>
                </c:pt>
                <c:pt idx="90">
                  <c:v>101.45146924094297</c:v>
                </c:pt>
                <c:pt idx="91">
                  <c:v>96.490828796318965</c:v>
                </c:pt>
                <c:pt idx="92">
                  <c:v>92.306037068192381</c:v>
                </c:pt>
                <c:pt idx="93">
                  <c:v>88.683650358230807</c:v>
                </c:pt>
                <c:pt idx="94">
                  <c:v>85.458515409758547</c:v>
                </c:pt>
                <c:pt idx="95">
                  <c:v>82.550836899783462</c:v>
                </c:pt>
                <c:pt idx="96">
                  <c:v>79.92236190722906</c:v>
                </c:pt>
                <c:pt idx="97">
                  <c:v>77.556106533942511</c:v>
                </c:pt>
                <c:pt idx="98">
                  <c:v>75.435848832654301</c:v>
                </c:pt>
                <c:pt idx="99">
                  <c:v>73.948098398657748</c:v>
                </c:pt>
                <c:pt idx="100">
                  <c:v>72.929688504780643</c:v>
                </c:pt>
                <c:pt idx="101">
                  <c:v>72.253042124386411</c:v>
                </c:pt>
                <c:pt idx="102">
                  <c:v>71.845054059871472</c:v>
                </c:pt>
                <c:pt idx="103">
                  <c:v>71.662402275047498</c:v>
                </c:pt>
                <c:pt idx="104">
                  <c:v>71.678087801556103</c:v>
                </c:pt>
                <c:pt idx="105">
                  <c:v>71.876055669563357</c:v>
                </c:pt>
                <c:pt idx="106">
                  <c:v>72.269643774809083</c:v>
                </c:pt>
                <c:pt idx="107">
                  <c:v>72.852734074607724</c:v>
                </c:pt>
                <c:pt idx="108">
                  <c:v>73.609239689976675</c:v>
                </c:pt>
                <c:pt idx="109">
                  <c:v>74.516499349992955</c:v>
                </c:pt>
                <c:pt idx="110">
                  <c:v>75.559992034861352</c:v>
                </c:pt>
                <c:pt idx="111">
                  <c:v>76.724169890338089</c:v>
                </c:pt>
                <c:pt idx="112">
                  <c:v>78.005196846439503</c:v>
                </c:pt>
                <c:pt idx="113">
                  <c:v>79.397631039697444</c:v>
                </c:pt>
                <c:pt idx="114">
                  <c:v>80.882116320484784</c:v>
                </c:pt>
                <c:pt idx="115">
                  <c:v>82.44332872304949</c:v>
                </c:pt>
                <c:pt idx="116">
                  <c:v>84.067768611217616</c:v>
                </c:pt>
                <c:pt idx="117">
                  <c:v>85.743467635300476</c:v>
                </c:pt>
                <c:pt idx="118">
                  <c:v>87.457388050243026</c:v>
                </c:pt>
                <c:pt idx="119">
                  <c:v>89.196577015449293</c:v>
                </c:pt>
                <c:pt idx="120">
                  <c:v>90.946597163623665</c:v>
                </c:pt>
                <c:pt idx="121">
                  <c:v>92.692060128378216</c:v>
                </c:pt>
                <c:pt idx="122">
                  <c:v>94.417832547740545</c:v>
                </c:pt>
                <c:pt idx="123">
                  <c:v>96.109004128986271</c:v>
                </c:pt>
                <c:pt idx="124">
                  <c:v>97.751566107006511</c:v>
                </c:pt>
                <c:pt idx="125">
                  <c:v>99.331859422265552</c:v>
                </c:pt>
                <c:pt idx="126">
                  <c:v>100.83742387325037</c:v>
                </c:pt>
                <c:pt idx="127">
                  <c:v>102.25661100243451</c:v>
                </c:pt>
                <c:pt idx="128">
                  <c:v>103.57850506628165</c:v>
                </c:pt>
                <c:pt idx="129">
                  <c:v>104.79311760549899</c:v>
                </c:pt>
                <c:pt idx="130">
                  <c:v>105.89122261878219</c:v>
                </c:pt>
                <c:pt idx="131">
                  <c:v>106.86458553341799</c:v>
                </c:pt>
                <c:pt idx="132">
                  <c:v>107.70590321917553</c:v>
                </c:pt>
                <c:pt idx="133">
                  <c:v>108.40880243934225</c:v>
                </c:pt>
                <c:pt idx="134">
                  <c:v>108.96781311067753</c:v>
                </c:pt>
                <c:pt idx="135">
                  <c:v>109.37841376010329</c:v>
                </c:pt>
                <c:pt idx="136">
                  <c:v>109.63701983974897</c:v>
                </c:pt>
                <c:pt idx="137">
                  <c:v>109.74096503236797</c:v>
                </c:pt>
                <c:pt idx="138">
                  <c:v>109.68848832155345</c:v>
                </c:pt>
                <c:pt idx="139">
                  <c:v>109.478716222482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D60-4826-BB40-44692634279D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F$2:$F$141</c:f>
              <c:numCache>
                <c:formatCode>General</c:formatCode>
                <c:ptCount val="14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D60-4826-BB40-446926342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7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G$2:$G$141</c:f>
              <c:numCache>
                <c:formatCode>General</c:formatCode>
                <c:ptCount val="140"/>
                <c:pt idx="0">
                  <c:v>130</c:v>
                </c:pt>
                <c:pt idx="1">
                  <c:v>149</c:v>
                </c:pt>
                <c:pt idx="2">
                  <c:v>132</c:v>
                </c:pt>
                <c:pt idx="3">
                  <c:v>173</c:v>
                </c:pt>
                <c:pt idx="4">
                  <c:v>179</c:v>
                </c:pt>
                <c:pt idx="5">
                  <c:v>176</c:v>
                </c:pt>
                <c:pt idx="6">
                  <c:v>147</c:v>
                </c:pt>
                <c:pt idx="7">
                  <c:v>166</c:v>
                </c:pt>
                <c:pt idx="8">
                  <c:v>148</c:v>
                </c:pt>
                <c:pt idx="9">
                  <c:v>143</c:v>
                </c:pt>
                <c:pt idx="10">
                  <c:v>180</c:v>
                </c:pt>
                <c:pt idx="11">
                  <c:v>192</c:v>
                </c:pt>
                <c:pt idx="12">
                  <c:v>192</c:v>
                </c:pt>
                <c:pt idx="13">
                  <c:v>181</c:v>
                </c:pt>
                <c:pt idx="14">
                  <c:v>204</c:v>
                </c:pt>
                <c:pt idx="15">
                  <c:v>191</c:v>
                </c:pt>
                <c:pt idx="16">
                  <c:v>200</c:v>
                </c:pt>
                <c:pt idx="17">
                  <c:v>214</c:v>
                </c:pt>
                <c:pt idx="18">
                  <c:v>182</c:v>
                </c:pt>
                <c:pt idx="19">
                  <c:v>207</c:v>
                </c:pt>
                <c:pt idx="20">
                  <c:v>202</c:v>
                </c:pt>
                <c:pt idx="21">
                  <c:v>235</c:v>
                </c:pt>
                <c:pt idx="22">
                  <c:v>227</c:v>
                </c:pt>
                <c:pt idx="23">
                  <c:v>225</c:v>
                </c:pt>
                <c:pt idx="24">
                  <c:v>230</c:v>
                </c:pt>
                <c:pt idx="25">
                  <c:v>208</c:v>
                </c:pt>
                <c:pt idx="26">
                  <c:v>178</c:v>
                </c:pt>
                <c:pt idx="27">
                  <c:v>226</c:v>
                </c:pt>
                <c:pt idx="28">
                  <c:v>236</c:v>
                </c:pt>
                <c:pt idx="29">
                  <c:v>216</c:v>
                </c:pt>
                <c:pt idx="30">
                  <c:v>198</c:v>
                </c:pt>
                <c:pt idx="31">
                  <c:v>213</c:v>
                </c:pt>
                <c:pt idx="32">
                  <c:v>173</c:v>
                </c:pt>
                <c:pt idx="33">
                  <c:v>181</c:v>
                </c:pt>
                <c:pt idx="34">
                  <c:v>191</c:v>
                </c:pt>
                <c:pt idx="35">
                  <c:v>206</c:v>
                </c:pt>
                <c:pt idx="36">
                  <c:v>192</c:v>
                </c:pt>
                <c:pt idx="37">
                  <c:v>181</c:v>
                </c:pt>
                <c:pt idx="38">
                  <c:v>158</c:v>
                </c:pt>
                <c:pt idx="39">
                  <c:v>155</c:v>
                </c:pt>
                <c:pt idx="40">
                  <c:v>179</c:v>
                </c:pt>
                <c:pt idx="41">
                  <c:v>117</c:v>
                </c:pt>
                <c:pt idx="42">
                  <c:v>177</c:v>
                </c:pt>
                <c:pt idx="43">
                  <c:v>169</c:v>
                </c:pt>
                <c:pt idx="44">
                  <c:v>153</c:v>
                </c:pt>
                <c:pt idx="45">
                  <c:v>148</c:v>
                </c:pt>
                <c:pt idx="46">
                  <c:v>103</c:v>
                </c:pt>
                <c:pt idx="47">
                  <c:v>123</c:v>
                </c:pt>
                <c:pt idx="48">
                  <c:v>140</c:v>
                </c:pt>
                <c:pt idx="49">
                  <c:v>121</c:v>
                </c:pt>
                <c:pt idx="50">
                  <c:v>114</c:v>
                </c:pt>
                <c:pt idx="51">
                  <c:v>122</c:v>
                </c:pt>
                <c:pt idx="52">
                  <c:v>121</c:v>
                </c:pt>
                <c:pt idx="53">
                  <c:v>104</c:v>
                </c:pt>
                <c:pt idx="54">
                  <c:v>107</c:v>
                </c:pt>
                <c:pt idx="55">
                  <c:v>88</c:v>
                </c:pt>
                <c:pt idx="56">
                  <c:v>84</c:v>
                </c:pt>
                <c:pt idx="57">
                  <c:v>91</c:v>
                </c:pt>
                <c:pt idx="58">
                  <c:v>90</c:v>
                </c:pt>
                <c:pt idx="59">
                  <c:v>87</c:v>
                </c:pt>
                <c:pt idx="60">
                  <c:v>63</c:v>
                </c:pt>
                <c:pt idx="61">
                  <c:v>73</c:v>
                </c:pt>
                <c:pt idx="62">
                  <c:v>77</c:v>
                </c:pt>
                <c:pt idx="63">
                  <c:v>70</c:v>
                </c:pt>
                <c:pt idx="64">
                  <c:v>63</c:v>
                </c:pt>
                <c:pt idx="65">
                  <c:v>64</c:v>
                </c:pt>
                <c:pt idx="66">
                  <c:v>56</c:v>
                </c:pt>
                <c:pt idx="67">
                  <c:v>53</c:v>
                </c:pt>
                <c:pt idx="68">
                  <c:v>55</c:v>
                </c:pt>
                <c:pt idx="69">
                  <c:v>53</c:v>
                </c:pt>
                <c:pt idx="70">
                  <c:v>57</c:v>
                </c:pt>
                <c:pt idx="71">
                  <c:v>50</c:v>
                </c:pt>
                <c:pt idx="72">
                  <c:v>66</c:v>
                </c:pt>
                <c:pt idx="73">
                  <c:v>43</c:v>
                </c:pt>
                <c:pt idx="74">
                  <c:v>48</c:v>
                </c:pt>
                <c:pt idx="75">
                  <c:v>32</c:v>
                </c:pt>
                <c:pt idx="76">
                  <c:v>35</c:v>
                </c:pt>
                <c:pt idx="77">
                  <c:v>37</c:v>
                </c:pt>
                <c:pt idx="78">
                  <c:v>44</c:v>
                </c:pt>
                <c:pt idx="79">
                  <c:v>35</c:v>
                </c:pt>
                <c:pt idx="80">
                  <c:v>39</c:v>
                </c:pt>
                <c:pt idx="81">
                  <c:v>28</c:v>
                </c:pt>
                <c:pt idx="82">
                  <c:v>31</c:v>
                </c:pt>
                <c:pt idx="83">
                  <c:v>32</c:v>
                </c:pt>
                <c:pt idx="84">
                  <c:v>32</c:v>
                </c:pt>
                <c:pt idx="85">
                  <c:v>34</c:v>
                </c:pt>
                <c:pt idx="86">
                  <c:v>33</c:v>
                </c:pt>
                <c:pt idx="87">
                  <c:v>23</c:v>
                </c:pt>
                <c:pt idx="88">
                  <c:v>16</c:v>
                </c:pt>
                <c:pt idx="89">
                  <c:v>17</c:v>
                </c:pt>
                <c:pt idx="90">
                  <c:v>14</c:v>
                </c:pt>
                <c:pt idx="91">
                  <c:v>20</c:v>
                </c:pt>
                <c:pt idx="92">
                  <c:v>15</c:v>
                </c:pt>
                <c:pt idx="93">
                  <c:v>16</c:v>
                </c:pt>
                <c:pt idx="94">
                  <c:v>16</c:v>
                </c:pt>
                <c:pt idx="95">
                  <c:v>13</c:v>
                </c:pt>
                <c:pt idx="96">
                  <c:v>10</c:v>
                </c:pt>
                <c:pt idx="97">
                  <c:v>12</c:v>
                </c:pt>
                <c:pt idx="98">
                  <c:v>7</c:v>
                </c:pt>
                <c:pt idx="99">
                  <c:v>8</c:v>
                </c:pt>
                <c:pt idx="100">
                  <c:v>10</c:v>
                </c:pt>
                <c:pt idx="101">
                  <c:v>12</c:v>
                </c:pt>
                <c:pt idx="102">
                  <c:v>4</c:v>
                </c:pt>
                <c:pt idx="103">
                  <c:v>3</c:v>
                </c:pt>
                <c:pt idx="10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31-46DE-A093-6A704C448C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C$2:$C$141</c:f>
              <c:numCache>
                <c:formatCode>General</c:formatCode>
                <c:ptCount val="140"/>
                <c:pt idx="10">
                  <c:v>143.24939327832357</c:v>
                </c:pt>
                <c:pt idx="11">
                  <c:v>146.90638747605666</c:v>
                </c:pt>
                <c:pt idx="12">
                  <c:v>150.53846608410112</c:v>
                </c:pt>
                <c:pt idx="13">
                  <c:v>154.96333767129821</c:v>
                </c:pt>
                <c:pt idx="14">
                  <c:v>159.39066318728479</c:v>
                </c:pt>
                <c:pt idx="15">
                  <c:v>163.53184498572455</c:v>
                </c:pt>
                <c:pt idx="16">
                  <c:v>167.76501105520796</c:v>
                </c:pt>
                <c:pt idx="17">
                  <c:v>172.04237368560428</c:v>
                </c:pt>
                <c:pt idx="18">
                  <c:v>175.79195711843266</c:v>
                </c:pt>
                <c:pt idx="19">
                  <c:v>179.25982208117506</c:v>
                </c:pt>
                <c:pt idx="20">
                  <c:v>182.59744709224864</c:v>
                </c:pt>
                <c:pt idx="21">
                  <c:v>185.35046159191486</c:v>
                </c:pt>
                <c:pt idx="22">
                  <c:v>187.6771854853485</c:v>
                </c:pt>
                <c:pt idx="23">
                  <c:v>189.96073242673373</c:v>
                </c:pt>
                <c:pt idx="24">
                  <c:v>191.69531116680113</c:v>
                </c:pt>
                <c:pt idx="25">
                  <c:v>192.64396075752626</c:v>
                </c:pt>
                <c:pt idx="26">
                  <c:v>193.44610843693923</c:v>
                </c:pt>
                <c:pt idx="27">
                  <c:v>194.02363638297007</c:v>
                </c:pt>
                <c:pt idx="28">
                  <c:v>194.02595163401742</c:v>
                </c:pt>
                <c:pt idx="29">
                  <c:v>193.44821220132582</c:v>
                </c:pt>
                <c:pt idx="30">
                  <c:v>192.78365125360133</c:v>
                </c:pt>
                <c:pt idx="31">
                  <c:v>191.7019820116349</c:v>
                </c:pt>
                <c:pt idx="32">
                  <c:v>190.09254048526722</c:v>
                </c:pt>
                <c:pt idx="33">
                  <c:v>188.32062618791016</c:v>
                </c:pt>
                <c:pt idx="34">
                  <c:v>186.20099384084631</c:v>
                </c:pt>
                <c:pt idx="35">
                  <c:v>183.81926850962751</c:v>
                </c:pt>
                <c:pt idx="36">
                  <c:v>181.16683794377613</c:v>
                </c:pt>
                <c:pt idx="37">
                  <c:v>178.29588181847586</c:v>
                </c:pt>
                <c:pt idx="38">
                  <c:v>175.26603380236489</c:v>
                </c:pt>
                <c:pt idx="39">
                  <c:v>171.96727495331368</c:v>
                </c:pt>
                <c:pt idx="40">
                  <c:v>168.57947999695918</c:v>
                </c:pt>
                <c:pt idx="41">
                  <c:v>165.04080713324106</c:v>
                </c:pt>
                <c:pt idx="42">
                  <c:v>161.36604362558643</c:v>
                </c:pt>
                <c:pt idx="43">
                  <c:v>157.60708194296063</c:v>
                </c:pt>
                <c:pt idx="44">
                  <c:v>153.78580597508889</c:v>
                </c:pt>
                <c:pt idx="45">
                  <c:v>149.92028073105465</c:v>
                </c:pt>
                <c:pt idx="46">
                  <c:v>145.970041516615</c:v>
                </c:pt>
                <c:pt idx="47">
                  <c:v>142.02302947170995</c:v>
                </c:pt>
                <c:pt idx="48">
                  <c:v>138.11238163512033</c:v>
                </c:pt>
                <c:pt idx="49">
                  <c:v>134.17055711406991</c:v>
                </c:pt>
                <c:pt idx="50">
                  <c:v>130.26274110818002</c:v>
                </c:pt>
                <c:pt idx="51">
                  <c:v>126.40405544161273</c:v>
                </c:pt>
                <c:pt idx="52">
                  <c:v>122.59040709487546</c:v>
                </c:pt>
                <c:pt idx="53">
                  <c:v>118.83747820180277</c:v>
                </c:pt>
                <c:pt idx="54">
                  <c:v>115.13520643227152</c:v>
                </c:pt>
                <c:pt idx="55">
                  <c:v>111.49861996222511</c:v>
                </c:pt>
                <c:pt idx="56">
                  <c:v>107.93053393118821</c:v>
                </c:pt>
                <c:pt idx="57">
                  <c:v>104.45158316961788</c:v>
                </c:pt>
                <c:pt idx="58">
                  <c:v>101.06553303657677</c:v>
                </c:pt>
                <c:pt idx="59">
                  <c:v>97.770398918317994</c:v>
                </c:pt>
                <c:pt idx="60">
                  <c:v>94.556553844729692</c:v>
                </c:pt>
                <c:pt idx="61">
                  <c:v>91.430016035986753</c:v>
                </c:pt>
                <c:pt idx="62">
                  <c:v>88.383351199420929</c:v>
                </c:pt>
                <c:pt idx="63">
                  <c:v>85.415328143578051</c:v>
                </c:pt>
                <c:pt idx="64">
                  <c:v>82.542808106465927</c:v>
                </c:pt>
                <c:pt idx="65">
                  <c:v>79.72747156440856</c:v>
                </c:pt>
                <c:pt idx="66">
                  <c:v>76.998584350086944</c:v>
                </c:pt>
                <c:pt idx="67">
                  <c:v>74.356446787413702</c:v>
                </c:pt>
                <c:pt idx="68">
                  <c:v>71.761192992073646</c:v>
                </c:pt>
                <c:pt idx="69">
                  <c:v>69.231084970060977</c:v>
                </c:pt>
                <c:pt idx="70">
                  <c:v>66.764275406505433</c:v>
                </c:pt>
                <c:pt idx="71">
                  <c:v>64.35597826253256</c:v>
                </c:pt>
                <c:pt idx="72">
                  <c:v>62.005227107276973</c:v>
                </c:pt>
                <c:pt idx="73">
                  <c:v>59.709747450628008</c:v>
                </c:pt>
                <c:pt idx="74">
                  <c:v>57.4663742681117</c:v>
                </c:pt>
                <c:pt idx="75">
                  <c:v>55.271835974329043</c:v>
                </c:pt>
                <c:pt idx="76">
                  <c:v>53.124709826056247</c:v>
                </c:pt>
                <c:pt idx="77">
                  <c:v>51.025028324498443</c:v>
                </c:pt>
                <c:pt idx="78">
                  <c:v>48.972720850424672</c:v>
                </c:pt>
                <c:pt idx="79">
                  <c:v>46.96745542336744</c:v>
                </c:pt>
                <c:pt idx="80">
                  <c:v>45.008901634492517</c:v>
                </c:pt>
                <c:pt idx="81">
                  <c:v>43.096438682057986</c:v>
                </c:pt>
                <c:pt idx="82">
                  <c:v>41.229714142701376</c:v>
                </c:pt>
                <c:pt idx="83">
                  <c:v>39.409560132765804</c:v>
                </c:pt>
                <c:pt idx="84">
                  <c:v>37.637714727025134</c:v>
                </c:pt>
                <c:pt idx="85">
                  <c:v>35.915833982804763</c:v>
                </c:pt>
                <c:pt idx="86">
                  <c:v>34.245249527876716</c:v>
                </c:pt>
                <c:pt idx="87">
                  <c:v>32.626966512903273</c:v>
                </c:pt>
                <c:pt idx="88">
                  <c:v>31.061553113502203</c:v>
                </c:pt>
                <c:pt idx="89">
                  <c:v>29.549383132733038</c:v>
                </c:pt>
                <c:pt idx="90">
                  <c:v>28.091044261622571</c:v>
                </c:pt>
                <c:pt idx="91">
                  <c:v>26.687170855361011</c:v>
                </c:pt>
                <c:pt idx="92">
                  <c:v>25.338143605604312</c:v>
                </c:pt>
                <c:pt idx="93">
                  <c:v>24.04385470417029</c:v>
                </c:pt>
                <c:pt idx="94">
                  <c:v>22.803672855697634</c:v>
                </c:pt>
                <c:pt idx="95">
                  <c:v>21.616543473003741</c:v>
                </c:pt>
                <c:pt idx="96">
                  <c:v>20.481196459271267</c:v>
                </c:pt>
                <c:pt idx="97">
                  <c:v>19.396150039635433</c:v>
                </c:pt>
                <c:pt idx="98">
                  <c:v>18.359728286777496</c:v>
                </c:pt>
                <c:pt idx="99">
                  <c:v>17.370166716566064</c:v>
                </c:pt>
                <c:pt idx="100">
                  <c:v>16.425640954080389</c:v>
                </c:pt>
                <c:pt idx="101">
                  <c:v>15.524308662016908</c:v>
                </c:pt>
                <c:pt idx="102">
                  <c:v>14.664409445130236</c:v>
                </c:pt>
                <c:pt idx="103">
                  <c:v>13.844270182618835</c:v>
                </c:pt>
                <c:pt idx="104">
                  <c:v>13.062263917046174</c:v>
                </c:pt>
                <c:pt idx="105">
                  <c:v>12.316818000750521</c:v>
                </c:pt>
                <c:pt idx="106">
                  <c:v>11.606588084063469</c:v>
                </c:pt>
                <c:pt idx="107">
                  <c:v>10.930489691071468</c:v>
                </c:pt>
                <c:pt idx="108">
                  <c:v>10.287553974746448</c:v>
                </c:pt>
                <c:pt idx="109">
                  <c:v>9.6768722872534667</c:v>
                </c:pt>
                <c:pt idx="110">
                  <c:v>9.0975939968283583</c:v>
                </c:pt>
                <c:pt idx="111">
                  <c:v>8.5488360298426223</c:v>
                </c:pt>
                <c:pt idx="112">
                  <c:v>8.0296793608450727</c:v>
                </c:pt>
                <c:pt idx="113">
                  <c:v>7.5391935224735844</c:v>
                </c:pt>
                <c:pt idx="114">
                  <c:v>7.076422773451144</c:v>
                </c:pt>
                <c:pt idx="115">
                  <c:v>6.6403439887716651</c:v>
                </c:pt>
                <c:pt idx="116">
                  <c:v>6.2298873146449774</c:v>
                </c:pt>
                <c:pt idx="117">
                  <c:v>5.8439679195420959</c:v>
                </c:pt>
                <c:pt idx="118">
                  <c:v>5.4814620514209142</c:v>
                </c:pt>
                <c:pt idx="119">
                  <c:v>5.1412281427656801</c:v>
                </c:pt>
                <c:pt idx="120">
                  <c:v>4.8221162273747034</c:v>
                </c:pt>
                <c:pt idx="121">
                  <c:v>4.5229861164146428</c:v>
                </c:pt>
                <c:pt idx="122">
                  <c:v>4.2427115790032932</c:v>
                </c:pt>
                <c:pt idx="123">
                  <c:v>3.9801786125966898</c:v>
                </c:pt>
                <c:pt idx="124">
                  <c:v>3.7342968931038252</c:v>
                </c:pt>
                <c:pt idx="125">
                  <c:v>3.5040091444710151</c:v>
                </c:pt>
                <c:pt idx="126">
                  <c:v>3.2883038329785705</c:v>
                </c:pt>
                <c:pt idx="127">
                  <c:v>3.0862203393412448</c:v>
                </c:pt>
                <c:pt idx="128">
                  <c:v>2.8968459075149706</c:v>
                </c:pt>
                <c:pt idx="129">
                  <c:v>2.7193197547495118</c:v>
                </c:pt>
                <c:pt idx="130">
                  <c:v>2.5528259746206312</c:v>
                </c:pt>
                <c:pt idx="131">
                  <c:v>2.3965970269582719</c:v>
                </c:pt>
                <c:pt idx="132">
                  <c:v>2.2499243511877465</c:v>
                </c:pt>
                <c:pt idx="133">
                  <c:v>2.1121511539162525</c:v>
                </c:pt>
                <c:pt idx="134">
                  <c:v>1.9826707039436295</c:v>
                </c:pt>
                <c:pt idx="135">
                  <c:v>1.860921815699857</c:v>
                </c:pt>
                <c:pt idx="136">
                  <c:v>1.746390128148384</c:v>
                </c:pt>
                <c:pt idx="137">
                  <c:v>1.6386020973582667</c:v>
                </c:pt>
                <c:pt idx="138">
                  <c:v>1.5371140579801543</c:v>
                </c:pt>
                <c:pt idx="139">
                  <c:v>1.44152120387381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431-46DE-A093-6A704C448CFB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D$2:$D$141</c:f>
              <c:numCache>
                <c:formatCode>General</c:formatCode>
                <c:ptCount val="140"/>
                <c:pt idx="10">
                  <c:v>143.24939327832357</c:v>
                </c:pt>
                <c:pt idx="11">
                  <c:v>146.90638747605666</c:v>
                </c:pt>
                <c:pt idx="12">
                  <c:v>150.53846608410112</c:v>
                </c:pt>
                <c:pt idx="13">
                  <c:v>154.96333767129821</c:v>
                </c:pt>
                <c:pt idx="14">
                  <c:v>159.39066318728479</c:v>
                </c:pt>
                <c:pt idx="15">
                  <c:v>163.53184498572455</c:v>
                </c:pt>
                <c:pt idx="16">
                  <c:v>167.76501105520796</c:v>
                </c:pt>
                <c:pt idx="17">
                  <c:v>172.04237368560428</c:v>
                </c:pt>
                <c:pt idx="18">
                  <c:v>175.79195711843266</c:v>
                </c:pt>
                <c:pt idx="19">
                  <c:v>179.25982208117506</c:v>
                </c:pt>
                <c:pt idx="20">
                  <c:v>182.59744709224864</c:v>
                </c:pt>
                <c:pt idx="21">
                  <c:v>185.35046159191486</c:v>
                </c:pt>
                <c:pt idx="22">
                  <c:v>187.6771854853485</c:v>
                </c:pt>
                <c:pt idx="23">
                  <c:v>189.96073242673373</c:v>
                </c:pt>
                <c:pt idx="24">
                  <c:v>191.69531116680113</c:v>
                </c:pt>
                <c:pt idx="25">
                  <c:v>192.64396075752626</c:v>
                </c:pt>
                <c:pt idx="26">
                  <c:v>193.44610843693923</c:v>
                </c:pt>
                <c:pt idx="27">
                  <c:v>194.02363638297007</c:v>
                </c:pt>
                <c:pt idx="28">
                  <c:v>194.02595163401742</c:v>
                </c:pt>
                <c:pt idx="29">
                  <c:v>193.44821220132582</c:v>
                </c:pt>
                <c:pt idx="30">
                  <c:v>192.78365125360133</c:v>
                </c:pt>
                <c:pt idx="31">
                  <c:v>191.7019820116349</c:v>
                </c:pt>
                <c:pt idx="32">
                  <c:v>190.09254048526722</c:v>
                </c:pt>
                <c:pt idx="33">
                  <c:v>188.32062618791016</c:v>
                </c:pt>
                <c:pt idx="34">
                  <c:v>186.20099384084631</c:v>
                </c:pt>
                <c:pt idx="35">
                  <c:v>183.81926850962751</c:v>
                </c:pt>
                <c:pt idx="36">
                  <c:v>181.16683794377613</c:v>
                </c:pt>
                <c:pt idx="37">
                  <c:v>178.29588181847586</c:v>
                </c:pt>
                <c:pt idx="38">
                  <c:v>175.26603380236489</c:v>
                </c:pt>
                <c:pt idx="39">
                  <c:v>171.96727495331368</c:v>
                </c:pt>
                <c:pt idx="40">
                  <c:v>168.57947999695918</c:v>
                </c:pt>
                <c:pt idx="41">
                  <c:v>165.04080713324106</c:v>
                </c:pt>
                <c:pt idx="42">
                  <c:v>161.36604362558643</c:v>
                </c:pt>
                <c:pt idx="43">
                  <c:v>157.60708194296063</c:v>
                </c:pt>
                <c:pt idx="44">
                  <c:v>153.78580597508889</c:v>
                </c:pt>
                <c:pt idx="45">
                  <c:v>149.92028073105465</c:v>
                </c:pt>
                <c:pt idx="46">
                  <c:v>145.970041516615</c:v>
                </c:pt>
                <c:pt idx="47">
                  <c:v>142.02302947170995</c:v>
                </c:pt>
                <c:pt idx="48">
                  <c:v>138.11238163512033</c:v>
                </c:pt>
                <c:pt idx="49">
                  <c:v>134.17055711406991</c:v>
                </c:pt>
                <c:pt idx="50">
                  <c:v>130.26274110818002</c:v>
                </c:pt>
                <c:pt idx="51">
                  <c:v>126.40405544161273</c:v>
                </c:pt>
                <c:pt idx="52">
                  <c:v>122.59040709487546</c:v>
                </c:pt>
                <c:pt idx="53">
                  <c:v>118.83747820180277</c:v>
                </c:pt>
                <c:pt idx="54">
                  <c:v>115.13520643227152</c:v>
                </c:pt>
                <c:pt idx="55">
                  <c:v>111.49861996222511</c:v>
                </c:pt>
                <c:pt idx="56">
                  <c:v>107.93053393118821</c:v>
                </c:pt>
                <c:pt idx="57">
                  <c:v>104.45158316961788</c:v>
                </c:pt>
                <c:pt idx="58">
                  <c:v>101.06553303657677</c:v>
                </c:pt>
                <c:pt idx="59">
                  <c:v>97.770398918317994</c:v>
                </c:pt>
                <c:pt idx="60">
                  <c:v>94.556553844729692</c:v>
                </c:pt>
                <c:pt idx="61">
                  <c:v>91.430016035986753</c:v>
                </c:pt>
                <c:pt idx="62">
                  <c:v>88.383351199420929</c:v>
                </c:pt>
                <c:pt idx="63">
                  <c:v>85.415328143578051</c:v>
                </c:pt>
                <c:pt idx="64">
                  <c:v>82.542808106465927</c:v>
                </c:pt>
                <c:pt idx="65">
                  <c:v>79.72747156440856</c:v>
                </c:pt>
                <c:pt idx="66">
                  <c:v>76.998584350086944</c:v>
                </c:pt>
                <c:pt idx="67">
                  <c:v>74.356446787413702</c:v>
                </c:pt>
                <c:pt idx="68">
                  <c:v>71.761192992073646</c:v>
                </c:pt>
                <c:pt idx="69">
                  <c:v>69.231084970060977</c:v>
                </c:pt>
                <c:pt idx="70">
                  <c:v>66.764275406505433</c:v>
                </c:pt>
                <c:pt idx="71">
                  <c:v>64.35597826253256</c:v>
                </c:pt>
                <c:pt idx="72">
                  <c:v>62.005227107276973</c:v>
                </c:pt>
                <c:pt idx="73">
                  <c:v>59.709747450628008</c:v>
                </c:pt>
                <c:pt idx="74">
                  <c:v>57.4663742681117</c:v>
                </c:pt>
                <c:pt idx="75">
                  <c:v>55.271835974329043</c:v>
                </c:pt>
                <c:pt idx="76">
                  <c:v>53.124709826056247</c:v>
                </c:pt>
                <c:pt idx="77">
                  <c:v>51.025028324498443</c:v>
                </c:pt>
                <c:pt idx="78">
                  <c:v>48.972720850424672</c:v>
                </c:pt>
                <c:pt idx="79">
                  <c:v>46.96745542336744</c:v>
                </c:pt>
                <c:pt idx="80">
                  <c:v>45.008901634492517</c:v>
                </c:pt>
                <c:pt idx="81">
                  <c:v>43.096438682057986</c:v>
                </c:pt>
                <c:pt idx="82">
                  <c:v>41.229714142701376</c:v>
                </c:pt>
                <c:pt idx="83">
                  <c:v>39.409560132765804</c:v>
                </c:pt>
                <c:pt idx="84">
                  <c:v>37.637714727025134</c:v>
                </c:pt>
                <c:pt idx="85">
                  <c:v>35.915833982804763</c:v>
                </c:pt>
                <c:pt idx="86">
                  <c:v>34.245249527876716</c:v>
                </c:pt>
                <c:pt idx="87">
                  <c:v>32.626966512903273</c:v>
                </c:pt>
                <c:pt idx="88">
                  <c:v>31.061553113502203</c:v>
                </c:pt>
                <c:pt idx="89">
                  <c:v>29.549383132733038</c:v>
                </c:pt>
                <c:pt idx="90">
                  <c:v>28.091044261622571</c:v>
                </c:pt>
                <c:pt idx="91">
                  <c:v>26.687170855361011</c:v>
                </c:pt>
                <c:pt idx="92">
                  <c:v>25.341652028728404</c:v>
                </c:pt>
                <c:pt idx="93">
                  <c:v>24.059225990661037</c:v>
                </c:pt>
                <c:pt idx="94">
                  <c:v>22.841409171115412</c:v>
                </c:pt>
                <c:pt idx="95">
                  <c:v>21.688941690209887</c:v>
                </c:pt>
                <c:pt idx="96">
                  <c:v>20.601522143304798</c:v>
                </c:pt>
                <c:pt idx="97">
                  <c:v>19.577895799727614</c:v>
                </c:pt>
                <c:pt idx="98">
                  <c:v>18.61680418123218</c:v>
                </c:pt>
                <c:pt idx="99">
                  <c:v>17.71894924390142</c:v>
                </c:pt>
                <c:pt idx="100">
                  <c:v>16.885218339837859</c:v>
                </c:pt>
                <c:pt idx="101">
                  <c:v>16.114613872088547</c:v>
                </c:pt>
                <c:pt idx="102">
                  <c:v>15.405941892966634</c:v>
                </c:pt>
                <c:pt idx="103">
                  <c:v>14.757317122993381</c:v>
                </c:pt>
                <c:pt idx="104">
                  <c:v>14.165813435996656</c:v>
                </c:pt>
                <c:pt idx="105">
                  <c:v>13.628797416847659</c:v>
                </c:pt>
                <c:pt idx="106">
                  <c:v>13.143878694288503</c:v>
                </c:pt>
                <c:pt idx="107">
                  <c:v>12.708666812996842</c:v>
                </c:pt>
                <c:pt idx="108">
                  <c:v>12.32149122547615</c:v>
                </c:pt>
                <c:pt idx="109">
                  <c:v>11.980680396945615</c:v>
                </c:pt>
                <c:pt idx="110">
                  <c:v>11.68416699549565</c:v>
                </c:pt>
                <c:pt idx="111">
                  <c:v>11.429969753233326</c:v>
                </c:pt>
                <c:pt idx="112">
                  <c:v>11.216281880687434</c:v>
                </c:pt>
                <c:pt idx="113">
                  <c:v>11.041359905367791</c:v>
                </c:pt>
                <c:pt idx="114">
                  <c:v>10.90300749030162</c:v>
                </c:pt>
                <c:pt idx="115">
                  <c:v>10.799488529439556</c:v>
                </c:pt>
                <c:pt idx="116">
                  <c:v>10.729179345838698</c:v>
                </c:pt>
                <c:pt idx="117">
                  <c:v>10.689707707091818</c:v>
                </c:pt>
                <c:pt idx="118">
                  <c:v>10.67914550807051</c:v>
                </c:pt>
                <c:pt idx="119">
                  <c:v>10.695649788132465</c:v>
                </c:pt>
                <c:pt idx="120">
                  <c:v>10.737251712422173</c:v>
                </c:pt>
                <c:pt idx="121">
                  <c:v>10.801751784746962</c:v>
                </c:pt>
                <c:pt idx="122">
                  <c:v>10.886992313432717</c:v>
                </c:pt>
                <c:pt idx="123">
                  <c:v>10.991049555929713</c:v>
                </c:pt>
                <c:pt idx="124">
                  <c:v>11.111574670855802</c:v>
                </c:pt>
                <c:pt idx="125">
                  <c:v>11.246410333221478</c:v>
                </c:pt>
                <c:pt idx="126">
                  <c:v>11.393480366361693</c:v>
                </c:pt>
                <c:pt idx="127">
                  <c:v>11.550701645677631</c:v>
                </c:pt>
                <c:pt idx="128">
                  <c:v>11.716083539096001</c:v>
                </c:pt>
                <c:pt idx="129">
                  <c:v>11.887545087416527</c:v>
                </c:pt>
                <c:pt idx="130">
                  <c:v>12.063105985530841</c:v>
                </c:pt>
                <c:pt idx="131">
                  <c:v>12.240734703253057</c:v>
                </c:pt>
                <c:pt idx="132">
                  <c:v>12.418569569083791</c:v>
                </c:pt>
                <c:pt idx="133">
                  <c:v>12.59490982989619</c:v>
                </c:pt>
                <c:pt idx="134">
                  <c:v>12.768030338577155</c:v>
                </c:pt>
                <c:pt idx="135">
                  <c:v>12.936271791143474</c:v>
                </c:pt>
                <c:pt idx="136">
                  <c:v>13.098085315416895</c:v>
                </c:pt>
                <c:pt idx="137">
                  <c:v>13.252024304939287</c:v>
                </c:pt>
                <c:pt idx="138">
                  <c:v>13.396670885108941</c:v>
                </c:pt>
                <c:pt idx="139">
                  <c:v>13.5307434647626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431-46DE-A093-6A704C448CFB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41</c:f>
              <c:numCache>
                <c:formatCode>m/d/yyyy</c:formatCode>
                <c:ptCount val="140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  <c:pt idx="106">
                  <c:v>44348</c:v>
                </c:pt>
                <c:pt idx="107">
                  <c:v>44349</c:v>
                </c:pt>
                <c:pt idx="108">
                  <c:v>44350</c:v>
                </c:pt>
                <c:pt idx="109">
                  <c:v>44351</c:v>
                </c:pt>
                <c:pt idx="110">
                  <c:v>44352</c:v>
                </c:pt>
                <c:pt idx="111">
                  <c:v>44353</c:v>
                </c:pt>
                <c:pt idx="112">
                  <c:v>44354</c:v>
                </c:pt>
                <c:pt idx="113">
                  <c:v>44355</c:v>
                </c:pt>
                <c:pt idx="114">
                  <c:v>44356</c:v>
                </c:pt>
                <c:pt idx="115">
                  <c:v>44357</c:v>
                </c:pt>
                <c:pt idx="116">
                  <c:v>44358</c:v>
                </c:pt>
                <c:pt idx="117">
                  <c:v>44359</c:v>
                </c:pt>
                <c:pt idx="118">
                  <c:v>44360</c:v>
                </c:pt>
                <c:pt idx="119">
                  <c:v>44361</c:v>
                </c:pt>
                <c:pt idx="120">
                  <c:v>44362</c:v>
                </c:pt>
                <c:pt idx="121">
                  <c:v>44363</c:v>
                </c:pt>
                <c:pt idx="122">
                  <c:v>44364</c:v>
                </c:pt>
                <c:pt idx="123">
                  <c:v>44365</c:v>
                </c:pt>
                <c:pt idx="124">
                  <c:v>44366</c:v>
                </c:pt>
                <c:pt idx="125">
                  <c:v>44367</c:v>
                </c:pt>
                <c:pt idx="126">
                  <c:v>44368</c:v>
                </c:pt>
                <c:pt idx="127">
                  <c:v>44369</c:v>
                </c:pt>
                <c:pt idx="128">
                  <c:v>44370</c:v>
                </c:pt>
                <c:pt idx="129">
                  <c:v>44371</c:v>
                </c:pt>
                <c:pt idx="130">
                  <c:v>44372</c:v>
                </c:pt>
                <c:pt idx="131">
                  <c:v>44373</c:v>
                </c:pt>
                <c:pt idx="132">
                  <c:v>44374</c:v>
                </c:pt>
                <c:pt idx="133">
                  <c:v>44375</c:v>
                </c:pt>
                <c:pt idx="134">
                  <c:v>44376</c:v>
                </c:pt>
                <c:pt idx="135">
                  <c:v>44377</c:v>
                </c:pt>
                <c:pt idx="136">
                  <c:v>44378</c:v>
                </c:pt>
                <c:pt idx="137">
                  <c:v>44379</c:v>
                </c:pt>
                <c:pt idx="138">
                  <c:v>44380</c:v>
                </c:pt>
                <c:pt idx="139">
                  <c:v>44381</c:v>
                </c:pt>
              </c:numCache>
            </c:numRef>
          </c:cat>
          <c:val>
            <c:numRef>
              <c:f>Sheet1!$F$2:$F$141</c:f>
              <c:numCache>
                <c:formatCode>General</c:formatCode>
                <c:ptCount val="14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431-46DE-A093-6A704C448C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  <c:majorUnit val="7"/>
        <c:major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35411079183262595"/>
          <c:y val="5.8593746395561863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4 15-19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B$5:$B$187</c:f>
              <c:numCache>
                <c:formatCode>General</c:formatCode>
                <c:ptCount val="183"/>
                <c:pt idx="0">
                  <c:v>3</c:v>
                </c:pt>
                <c:pt idx="1">
                  <c:v>2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  <c:pt idx="5">
                  <c:v>3</c:v>
                </c:pt>
                <c:pt idx="6">
                  <c:v>9</c:v>
                </c:pt>
                <c:pt idx="7">
                  <c:v>15</c:v>
                </c:pt>
                <c:pt idx="8">
                  <c:v>19</c:v>
                </c:pt>
                <c:pt idx="9">
                  <c:v>21</c:v>
                </c:pt>
                <c:pt idx="10">
                  <c:v>5</c:v>
                </c:pt>
                <c:pt idx="11">
                  <c:v>2</c:v>
                </c:pt>
                <c:pt idx="12">
                  <c:v>22</c:v>
                </c:pt>
                <c:pt idx="13">
                  <c:v>46</c:v>
                </c:pt>
                <c:pt idx="14">
                  <c:v>38</c:v>
                </c:pt>
                <c:pt idx="15">
                  <c:v>78</c:v>
                </c:pt>
                <c:pt idx="16">
                  <c:v>54</c:v>
                </c:pt>
                <c:pt idx="17">
                  <c:v>5</c:v>
                </c:pt>
                <c:pt idx="18">
                  <c:v>7</c:v>
                </c:pt>
                <c:pt idx="19">
                  <c:v>26</c:v>
                </c:pt>
                <c:pt idx="20">
                  <c:v>16</c:v>
                </c:pt>
                <c:pt idx="21">
                  <c:v>21</c:v>
                </c:pt>
                <c:pt idx="22">
                  <c:v>29</c:v>
                </c:pt>
                <c:pt idx="23">
                  <c:v>20</c:v>
                </c:pt>
                <c:pt idx="24">
                  <c:v>2</c:v>
                </c:pt>
                <c:pt idx="25">
                  <c:v>1</c:v>
                </c:pt>
                <c:pt idx="26">
                  <c:v>14</c:v>
                </c:pt>
                <c:pt idx="27">
                  <c:v>33</c:v>
                </c:pt>
                <c:pt idx="28">
                  <c:v>22</c:v>
                </c:pt>
                <c:pt idx="29">
                  <c:v>20</c:v>
                </c:pt>
                <c:pt idx="30">
                  <c:v>10</c:v>
                </c:pt>
                <c:pt idx="31">
                  <c:v>0</c:v>
                </c:pt>
                <c:pt idx="32">
                  <c:v>1</c:v>
                </c:pt>
                <c:pt idx="33">
                  <c:v>5</c:v>
                </c:pt>
                <c:pt idx="34">
                  <c:v>7</c:v>
                </c:pt>
                <c:pt idx="35">
                  <c:v>9</c:v>
                </c:pt>
                <c:pt idx="36">
                  <c:v>9</c:v>
                </c:pt>
                <c:pt idx="37">
                  <c:v>10</c:v>
                </c:pt>
                <c:pt idx="38">
                  <c:v>0</c:v>
                </c:pt>
                <c:pt idx="39">
                  <c:v>1</c:v>
                </c:pt>
                <c:pt idx="40">
                  <c:v>6</c:v>
                </c:pt>
                <c:pt idx="41">
                  <c:v>15</c:v>
                </c:pt>
                <c:pt idx="42">
                  <c:v>7</c:v>
                </c:pt>
                <c:pt idx="43">
                  <c:v>19</c:v>
                </c:pt>
                <c:pt idx="44">
                  <c:v>16</c:v>
                </c:pt>
                <c:pt idx="45">
                  <c:v>7</c:v>
                </c:pt>
                <c:pt idx="46">
                  <c:v>0</c:v>
                </c:pt>
                <c:pt idx="47">
                  <c:v>7</c:v>
                </c:pt>
                <c:pt idx="48">
                  <c:v>18</c:v>
                </c:pt>
                <c:pt idx="49">
                  <c:v>11</c:v>
                </c:pt>
                <c:pt idx="50">
                  <c:v>21</c:v>
                </c:pt>
                <c:pt idx="51">
                  <c:v>28</c:v>
                </c:pt>
                <c:pt idx="52">
                  <c:v>5</c:v>
                </c:pt>
                <c:pt idx="53">
                  <c:v>1</c:v>
                </c:pt>
                <c:pt idx="54">
                  <c:v>15</c:v>
                </c:pt>
                <c:pt idx="55">
                  <c:v>12</c:v>
                </c:pt>
                <c:pt idx="56">
                  <c:v>32</c:v>
                </c:pt>
                <c:pt idx="57">
                  <c:v>34</c:v>
                </c:pt>
                <c:pt idx="58">
                  <c:v>84</c:v>
                </c:pt>
                <c:pt idx="59">
                  <c:v>48</c:v>
                </c:pt>
                <c:pt idx="60">
                  <c:v>4</c:v>
                </c:pt>
                <c:pt idx="61">
                  <c:v>26</c:v>
                </c:pt>
                <c:pt idx="62">
                  <c:v>22</c:v>
                </c:pt>
                <c:pt idx="63">
                  <c:v>24</c:v>
                </c:pt>
                <c:pt idx="64">
                  <c:v>26</c:v>
                </c:pt>
                <c:pt idx="65">
                  <c:v>36</c:v>
                </c:pt>
                <c:pt idx="66">
                  <c:v>22</c:v>
                </c:pt>
                <c:pt idx="67">
                  <c:v>20</c:v>
                </c:pt>
                <c:pt idx="68">
                  <c:v>25</c:v>
                </c:pt>
                <c:pt idx="69">
                  <c:v>106</c:v>
                </c:pt>
                <c:pt idx="70">
                  <c:v>59</c:v>
                </c:pt>
                <c:pt idx="71">
                  <c:v>48</c:v>
                </c:pt>
                <c:pt idx="72">
                  <c:v>63</c:v>
                </c:pt>
                <c:pt idx="73">
                  <c:v>27</c:v>
                </c:pt>
                <c:pt idx="74">
                  <c:v>20</c:v>
                </c:pt>
                <c:pt idx="75">
                  <c:v>126</c:v>
                </c:pt>
                <c:pt idx="76">
                  <c:v>58</c:v>
                </c:pt>
                <c:pt idx="77">
                  <c:v>85</c:v>
                </c:pt>
                <c:pt idx="78">
                  <c:v>47</c:v>
                </c:pt>
                <c:pt idx="79">
                  <c:v>148</c:v>
                </c:pt>
                <c:pt idx="80">
                  <c:v>63</c:v>
                </c:pt>
                <c:pt idx="81">
                  <c:v>22</c:v>
                </c:pt>
                <c:pt idx="82">
                  <c:v>33</c:v>
                </c:pt>
                <c:pt idx="83">
                  <c:v>48</c:v>
                </c:pt>
                <c:pt idx="84">
                  <c:v>46</c:v>
                </c:pt>
                <c:pt idx="85">
                  <c:v>71</c:v>
                </c:pt>
                <c:pt idx="86">
                  <c:v>116</c:v>
                </c:pt>
                <c:pt idx="87">
                  <c:v>16</c:v>
                </c:pt>
                <c:pt idx="88">
                  <c:v>10</c:v>
                </c:pt>
                <c:pt idx="89">
                  <c:v>33</c:v>
                </c:pt>
                <c:pt idx="90">
                  <c:v>41</c:v>
                </c:pt>
                <c:pt idx="91">
                  <c:v>51</c:v>
                </c:pt>
                <c:pt idx="92">
                  <c:v>46</c:v>
                </c:pt>
                <c:pt idx="93">
                  <c:v>18</c:v>
                </c:pt>
                <c:pt idx="94">
                  <c:v>8</c:v>
                </c:pt>
                <c:pt idx="95">
                  <c:v>7</c:v>
                </c:pt>
                <c:pt idx="96">
                  <c:v>9</c:v>
                </c:pt>
                <c:pt idx="97">
                  <c:v>24</c:v>
                </c:pt>
                <c:pt idx="98">
                  <c:v>47</c:v>
                </c:pt>
                <c:pt idx="99">
                  <c:v>68</c:v>
                </c:pt>
                <c:pt idx="100">
                  <c:v>92</c:v>
                </c:pt>
                <c:pt idx="101">
                  <c:v>28</c:v>
                </c:pt>
                <c:pt idx="102">
                  <c:v>31</c:v>
                </c:pt>
                <c:pt idx="103">
                  <c:v>79</c:v>
                </c:pt>
                <c:pt idx="104">
                  <c:v>70</c:v>
                </c:pt>
                <c:pt idx="105">
                  <c:v>64</c:v>
                </c:pt>
                <c:pt idx="106">
                  <c:v>107</c:v>
                </c:pt>
                <c:pt idx="107">
                  <c:v>103</c:v>
                </c:pt>
                <c:pt idx="108">
                  <c:v>36</c:v>
                </c:pt>
                <c:pt idx="109">
                  <c:v>25</c:v>
                </c:pt>
                <c:pt idx="110">
                  <c:v>121</c:v>
                </c:pt>
                <c:pt idx="111">
                  <c:v>70</c:v>
                </c:pt>
                <c:pt idx="112">
                  <c:v>122</c:v>
                </c:pt>
                <c:pt idx="113">
                  <c:v>163</c:v>
                </c:pt>
                <c:pt idx="114">
                  <c:v>177</c:v>
                </c:pt>
                <c:pt idx="115">
                  <c:v>89</c:v>
                </c:pt>
                <c:pt idx="116">
                  <c:v>45</c:v>
                </c:pt>
                <c:pt idx="117">
                  <c:v>117</c:v>
                </c:pt>
                <c:pt idx="118">
                  <c:v>103</c:v>
                </c:pt>
                <c:pt idx="119">
                  <c:v>122</c:v>
                </c:pt>
                <c:pt idx="120">
                  <c:v>112</c:v>
                </c:pt>
                <c:pt idx="121">
                  <c:v>170</c:v>
                </c:pt>
                <c:pt idx="122">
                  <c:v>42</c:v>
                </c:pt>
                <c:pt idx="123">
                  <c:v>54</c:v>
                </c:pt>
                <c:pt idx="124">
                  <c:v>134</c:v>
                </c:pt>
                <c:pt idx="125">
                  <c:v>140</c:v>
                </c:pt>
                <c:pt idx="126">
                  <c:v>197</c:v>
                </c:pt>
                <c:pt idx="127">
                  <c:v>155</c:v>
                </c:pt>
                <c:pt idx="128">
                  <c:v>237</c:v>
                </c:pt>
                <c:pt idx="129">
                  <c:v>88</c:v>
                </c:pt>
                <c:pt idx="130">
                  <c:v>53</c:v>
                </c:pt>
                <c:pt idx="131">
                  <c:v>154</c:v>
                </c:pt>
                <c:pt idx="132">
                  <c:v>192</c:v>
                </c:pt>
                <c:pt idx="133">
                  <c:v>192</c:v>
                </c:pt>
                <c:pt idx="134">
                  <c:v>192</c:v>
                </c:pt>
                <c:pt idx="135">
                  <c:v>192</c:v>
                </c:pt>
                <c:pt idx="136">
                  <c:v>192</c:v>
                </c:pt>
                <c:pt idx="137">
                  <c:v>192</c:v>
                </c:pt>
                <c:pt idx="138">
                  <c:v>192</c:v>
                </c:pt>
                <c:pt idx="139">
                  <c:v>192</c:v>
                </c:pt>
                <c:pt idx="140">
                  <c:v>192</c:v>
                </c:pt>
                <c:pt idx="141">
                  <c:v>192</c:v>
                </c:pt>
                <c:pt idx="142">
                  <c:v>192</c:v>
                </c:pt>
                <c:pt idx="143">
                  <c:v>192</c:v>
                </c:pt>
                <c:pt idx="144">
                  <c:v>192</c:v>
                </c:pt>
                <c:pt idx="145">
                  <c:v>192</c:v>
                </c:pt>
                <c:pt idx="146">
                  <c:v>192</c:v>
                </c:pt>
                <c:pt idx="147">
                  <c:v>192</c:v>
                </c:pt>
                <c:pt idx="148">
                  <c:v>192</c:v>
                </c:pt>
                <c:pt idx="149">
                  <c:v>192</c:v>
                </c:pt>
                <c:pt idx="150">
                  <c:v>192</c:v>
                </c:pt>
                <c:pt idx="151">
                  <c:v>192</c:v>
                </c:pt>
                <c:pt idx="152">
                  <c:v>192</c:v>
                </c:pt>
                <c:pt idx="153">
                  <c:v>5271</c:v>
                </c:pt>
                <c:pt idx="154">
                  <c:v>5271</c:v>
                </c:pt>
                <c:pt idx="155">
                  <c:v>5271</c:v>
                </c:pt>
                <c:pt idx="156">
                  <c:v>5271</c:v>
                </c:pt>
                <c:pt idx="157">
                  <c:v>5271</c:v>
                </c:pt>
                <c:pt idx="158">
                  <c:v>5271</c:v>
                </c:pt>
                <c:pt idx="159">
                  <c:v>5271</c:v>
                </c:pt>
                <c:pt idx="160">
                  <c:v>5271</c:v>
                </c:pt>
                <c:pt idx="161">
                  <c:v>5271</c:v>
                </c:pt>
                <c:pt idx="162">
                  <c:v>5271</c:v>
                </c:pt>
                <c:pt idx="163">
                  <c:v>5271</c:v>
                </c:pt>
                <c:pt idx="164">
                  <c:v>5271</c:v>
                </c:pt>
                <c:pt idx="165">
                  <c:v>5271</c:v>
                </c:pt>
                <c:pt idx="166">
                  <c:v>5271</c:v>
                </c:pt>
                <c:pt idx="167">
                  <c:v>5271</c:v>
                </c:pt>
                <c:pt idx="168">
                  <c:v>5271</c:v>
                </c:pt>
                <c:pt idx="169">
                  <c:v>5271</c:v>
                </c:pt>
                <c:pt idx="170">
                  <c:v>5271</c:v>
                </c:pt>
                <c:pt idx="171">
                  <c:v>5271</c:v>
                </c:pt>
                <c:pt idx="172">
                  <c:v>5271</c:v>
                </c:pt>
                <c:pt idx="173">
                  <c:v>5271</c:v>
                </c:pt>
                <c:pt idx="174">
                  <c:v>5271</c:v>
                </c:pt>
                <c:pt idx="175">
                  <c:v>5271</c:v>
                </c:pt>
                <c:pt idx="176">
                  <c:v>5271</c:v>
                </c:pt>
                <c:pt idx="177">
                  <c:v>5271</c:v>
                </c:pt>
                <c:pt idx="178">
                  <c:v>5271</c:v>
                </c:pt>
                <c:pt idx="179">
                  <c:v>5271</c:v>
                </c:pt>
                <c:pt idx="180">
                  <c:v>5271</c:v>
                </c:pt>
                <c:pt idx="181">
                  <c:v>5271</c:v>
                </c:pt>
                <c:pt idx="182">
                  <c:v>52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67-42C6-AC42-927B0F02AEC7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5 20-24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C$5:$C$187</c:f>
              <c:numCache>
                <c:formatCode>General</c:formatCode>
                <c:ptCount val="183"/>
                <c:pt idx="0">
                  <c:v>105</c:v>
                </c:pt>
                <c:pt idx="1">
                  <c:v>42</c:v>
                </c:pt>
                <c:pt idx="2">
                  <c:v>5</c:v>
                </c:pt>
                <c:pt idx="3">
                  <c:v>33</c:v>
                </c:pt>
                <c:pt idx="4">
                  <c:v>26</c:v>
                </c:pt>
                <c:pt idx="5">
                  <c:v>87</c:v>
                </c:pt>
                <c:pt idx="6">
                  <c:v>116</c:v>
                </c:pt>
                <c:pt idx="7">
                  <c:v>145</c:v>
                </c:pt>
                <c:pt idx="8">
                  <c:v>220</c:v>
                </c:pt>
                <c:pt idx="9">
                  <c:v>280</c:v>
                </c:pt>
                <c:pt idx="10">
                  <c:v>46</c:v>
                </c:pt>
                <c:pt idx="11">
                  <c:v>53</c:v>
                </c:pt>
                <c:pt idx="12">
                  <c:v>336</c:v>
                </c:pt>
                <c:pt idx="13">
                  <c:v>396</c:v>
                </c:pt>
                <c:pt idx="14">
                  <c:v>346</c:v>
                </c:pt>
                <c:pt idx="15">
                  <c:v>378</c:v>
                </c:pt>
                <c:pt idx="16">
                  <c:v>342</c:v>
                </c:pt>
                <c:pt idx="17">
                  <c:v>60</c:v>
                </c:pt>
                <c:pt idx="18">
                  <c:v>35</c:v>
                </c:pt>
                <c:pt idx="19">
                  <c:v>208</c:v>
                </c:pt>
                <c:pt idx="20">
                  <c:v>167</c:v>
                </c:pt>
                <c:pt idx="21">
                  <c:v>181</c:v>
                </c:pt>
                <c:pt idx="22">
                  <c:v>150</c:v>
                </c:pt>
                <c:pt idx="23">
                  <c:v>174</c:v>
                </c:pt>
                <c:pt idx="24">
                  <c:v>18</c:v>
                </c:pt>
                <c:pt idx="25">
                  <c:v>12</c:v>
                </c:pt>
                <c:pt idx="26">
                  <c:v>137</c:v>
                </c:pt>
                <c:pt idx="27">
                  <c:v>168</c:v>
                </c:pt>
                <c:pt idx="28">
                  <c:v>120</c:v>
                </c:pt>
                <c:pt idx="29">
                  <c:v>97</c:v>
                </c:pt>
                <c:pt idx="30">
                  <c:v>68</c:v>
                </c:pt>
                <c:pt idx="31">
                  <c:v>1</c:v>
                </c:pt>
                <c:pt idx="32">
                  <c:v>1</c:v>
                </c:pt>
                <c:pt idx="33">
                  <c:v>53</c:v>
                </c:pt>
                <c:pt idx="34">
                  <c:v>54</c:v>
                </c:pt>
                <c:pt idx="35">
                  <c:v>48</c:v>
                </c:pt>
                <c:pt idx="36">
                  <c:v>47</c:v>
                </c:pt>
                <c:pt idx="37">
                  <c:v>57</c:v>
                </c:pt>
                <c:pt idx="38">
                  <c:v>1</c:v>
                </c:pt>
                <c:pt idx="39">
                  <c:v>7</c:v>
                </c:pt>
                <c:pt idx="40">
                  <c:v>42</c:v>
                </c:pt>
                <c:pt idx="41">
                  <c:v>48</c:v>
                </c:pt>
                <c:pt idx="42">
                  <c:v>72</c:v>
                </c:pt>
                <c:pt idx="43">
                  <c:v>93</c:v>
                </c:pt>
                <c:pt idx="44">
                  <c:v>86</c:v>
                </c:pt>
                <c:pt idx="45">
                  <c:v>38</c:v>
                </c:pt>
                <c:pt idx="46">
                  <c:v>13</c:v>
                </c:pt>
                <c:pt idx="47">
                  <c:v>101</c:v>
                </c:pt>
                <c:pt idx="48">
                  <c:v>98</c:v>
                </c:pt>
                <c:pt idx="49">
                  <c:v>136</c:v>
                </c:pt>
                <c:pt idx="50">
                  <c:v>129</c:v>
                </c:pt>
                <c:pt idx="51">
                  <c:v>170</c:v>
                </c:pt>
                <c:pt idx="52">
                  <c:v>29</c:v>
                </c:pt>
                <c:pt idx="53">
                  <c:v>3</c:v>
                </c:pt>
                <c:pt idx="54">
                  <c:v>123</c:v>
                </c:pt>
                <c:pt idx="55">
                  <c:v>161</c:v>
                </c:pt>
                <c:pt idx="56">
                  <c:v>224</c:v>
                </c:pt>
                <c:pt idx="57">
                  <c:v>235</c:v>
                </c:pt>
                <c:pt idx="58">
                  <c:v>235</c:v>
                </c:pt>
                <c:pt idx="59">
                  <c:v>30</c:v>
                </c:pt>
                <c:pt idx="60">
                  <c:v>27</c:v>
                </c:pt>
                <c:pt idx="61">
                  <c:v>206</c:v>
                </c:pt>
                <c:pt idx="62">
                  <c:v>292</c:v>
                </c:pt>
                <c:pt idx="63">
                  <c:v>287</c:v>
                </c:pt>
                <c:pt idx="64">
                  <c:v>221</c:v>
                </c:pt>
                <c:pt idx="65">
                  <c:v>277</c:v>
                </c:pt>
                <c:pt idx="66">
                  <c:v>121</c:v>
                </c:pt>
                <c:pt idx="67">
                  <c:v>153</c:v>
                </c:pt>
                <c:pt idx="68">
                  <c:v>258</c:v>
                </c:pt>
                <c:pt idx="69">
                  <c:v>278</c:v>
                </c:pt>
                <c:pt idx="70">
                  <c:v>441</c:v>
                </c:pt>
                <c:pt idx="71">
                  <c:v>510</c:v>
                </c:pt>
                <c:pt idx="72">
                  <c:v>477</c:v>
                </c:pt>
                <c:pt idx="73">
                  <c:v>194</c:v>
                </c:pt>
                <c:pt idx="74">
                  <c:v>175</c:v>
                </c:pt>
                <c:pt idx="75">
                  <c:v>303</c:v>
                </c:pt>
                <c:pt idx="76">
                  <c:v>391</c:v>
                </c:pt>
                <c:pt idx="77">
                  <c:v>373</c:v>
                </c:pt>
                <c:pt idx="78">
                  <c:v>338</c:v>
                </c:pt>
                <c:pt idx="79">
                  <c:v>360</c:v>
                </c:pt>
                <c:pt idx="80">
                  <c:v>181</c:v>
                </c:pt>
                <c:pt idx="81">
                  <c:v>81</c:v>
                </c:pt>
                <c:pt idx="82">
                  <c:v>225</c:v>
                </c:pt>
                <c:pt idx="83">
                  <c:v>279</c:v>
                </c:pt>
                <c:pt idx="84">
                  <c:v>308</c:v>
                </c:pt>
                <c:pt idx="85">
                  <c:v>293</c:v>
                </c:pt>
                <c:pt idx="86">
                  <c:v>362</c:v>
                </c:pt>
                <c:pt idx="87">
                  <c:v>84</c:v>
                </c:pt>
                <c:pt idx="88">
                  <c:v>72</c:v>
                </c:pt>
                <c:pt idx="89">
                  <c:v>181</c:v>
                </c:pt>
                <c:pt idx="90">
                  <c:v>250</c:v>
                </c:pt>
                <c:pt idx="91">
                  <c:v>253</c:v>
                </c:pt>
                <c:pt idx="92">
                  <c:v>287</c:v>
                </c:pt>
                <c:pt idx="93">
                  <c:v>87</c:v>
                </c:pt>
                <c:pt idx="94">
                  <c:v>58</c:v>
                </c:pt>
                <c:pt idx="95">
                  <c:v>27</c:v>
                </c:pt>
                <c:pt idx="96">
                  <c:v>21</c:v>
                </c:pt>
                <c:pt idx="97">
                  <c:v>118</c:v>
                </c:pt>
                <c:pt idx="98">
                  <c:v>196</c:v>
                </c:pt>
                <c:pt idx="99">
                  <c:v>369</c:v>
                </c:pt>
                <c:pt idx="100">
                  <c:v>435</c:v>
                </c:pt>
                <c:pt idx="101">
                  <c:v>136</c:v>
                </c:pt>
                <c:pt idx="102">
                  <c:v>103</c:v>
                </c:pt>
                <c:pt idx="103">
                  <c:v>307</c:v>
                </c:pt>
                <c:pt idx="104">
                  <c:v>291</c:v>
                </c:pt>
                <c:pt idx="105">
                  <c:v>273</c:v>
                </c:pt>
                <c:pt idx="106">
                  <c:v>472</c:v>
                </c:pt>
                <c:pt idx="107">
                  <c:v>478</c:v>
                </c:pt>
                <c:pt idx="108">
                  <c:v>224</c:v>
                </c:pt>
                <c:pt idx="109">
                  <c:v>199</c:v>
                </c:pt>
                <c:pt idx="110">
                  <c:v>515</c:v>
                </c:pt>
                <c:pt idx="111">
                  <c:v>415</c:v>
                </c:pt>
                <c:pt idx="112">
                  <c:v>425</c:v>
                </c:pt>
                <c:pt idx="113">
                  <c:v>490</c:v>
                </c:pt>
                <c:pt idx="114">
                  <c:v>662</c:v>
                </c:pt>
                <c:pt idx="115">
                  <c:v>250</c:v>
                </c:pt>
                <c:pt idx="116">
                  <c:v>131</c:v>
                </c:pt>
                <c:pt idx="117">
                  <c:v>404</c:v>
                </c:pt>
                <c:pt idx="118">
                  <c:v>339</c:v>
                </c:pt>
                <c:pt idx="119">
                  <c:v>385</c:v>
                </c:pt>
                <c:pt idx="120">
                  <c:v>394</c:v>
                </c:pt>
                <c:pt idx="121">
                  <c:v>600</c:v>
                </c:pt>
                <c:pt idx="122">
                  <c:v>153</c:v>
                </c:pt>
                <c:pt idx="123">
                  <c:v>167</c:v>
                </c:pt>
                <c:pt idx="124">
                  <c:v>405</c:v>
                </c:pt>
                <c:pt idx="125">
                  <c:v>398</c:v>
                </c:pt>
                <c:pt idx="126">
                  <c:v>478</c:v>
                </c:pt>
                <c:pt idx="127">
                  <c:v>547</c:v>
                </c:pt>
                <c:pt idx="128">
                  <c:v>707</c:v>
                </c:pt>
                <c:pt idx="129">
                  <c:v>245</c:v>
                </c:pt>
                <c:pt idx="130">
                  <c:v>199</c:v>
                </c:pt>
                <c:pt idx="131">
                  <c:v>414</c:v>
                </c:pt>
                <c:pt idx="132">
                  <c:v>568</c:v>
                </c:pt>
                <c:pt idx="133">
                  <c:v>568</c:v>
                </c:pt>
                <c:pt idx="134">
                  <c:v>568</c:v>
                </c:pt>
                <c:pt idx="135">
                  <c:v>568</c:v>
                </c:pt>
                <c:pt idx="136">
                  <c:v>568</c:v>
                </c:pt>
                <c:pt idx="137">
                  <c:v>568</c:v>
                </c:pt>
                <c:pt idx="138">
                  <c:v>568</c:v>
                </c:pt>
                <c:pt idx="139">
                  <c:v>568</c:v>
                </c:pt>
                <c:pt idx="140">
                  <c:v>568</c:v>
                </c:pt>
                <c:pt idx="141">
                  <c:v>568</c:v>
                </c:pt>
                <c:pt idx="142">
                  <c:v>568</c:v>
                </c:pt>
                <c:pt idx="143">
                  <c:v>568</c:v>
                </c:pt>
                <c:pt idx="144">
                  <c:v>568</c:v>
                </c:pt>
                <c:pt idx="145">
                  <c:v>568</c:v>
                </c:pt>
                <c:pt idx="146">
                  <c:v>568</c:v>
                </c:pt>
                <c:pt idx="147">
                  <c:v>568</c:v>
                </c:pt>
                <c:pt idx="148">
                  <c:v>568</c:v>
                </c:pt>
                <c:pt idx="149">
                  <c:v>568</c:v>
                </c:pt>
                <c:pt idx="150">
                  <c:v>568</c:v>
                </c:pt>
                <c:pt idx="151">
                  <c:v>568</c:v>
                </c:pt>
                <c:pt idx="152">
                  <c:v>568</c:v>
                </c:pt>
                <c:pt idx="153">
                  <c:v>5616</c:v>
                </c:pt>
                <c:pt idx="154">
                  <c:v>5616</c:v>
                </c:pt>
                <c:pt idx="155">
                  <c:v>5616</c:v>
                </c:pt>
                <c:pt idx="156">
                  <c:v>5616</c:v>
                </c:pt>
                <c:pt idx="157">
                  <c:v>5616</c:v>
                </c:pt>
                <c:pt idx="158">
                  <c:v>5616</c:v>
                </c:pt>
                <c:pt idx="159">
                  <c:v>5616</c:v>
                </c:pt>
                <c:pt idx="160">
                  <c:v>5616</c:v>
                </c:pt>
                <c:pt idx="161">
                  <c:v>5616</c:v>
                </c:pt>
                <c:pt idx="162">
                  <c:v>5616</c:v>
                </c:pt>
                <c:pt idx="163">
                  <c:v>5616</c:v>
                </c:pt>
                <c:pt idx="164">
                  <c:v>5616</c:v>
                </c:pt>
                <c:pt idx="165">
                  <c:v>5616</c:v>
                </c:pt>
                <c:pt idx="166">
                  <c:v>5616</c:v>
                </c:pt>
                <c:pt idx="167">
                  <c:v>5616</c:v>
                </c:pt>
                <c:pt idx="168">
                  <c:v>5616</c:v>
                </c:pt>
                <c:pt idx="169">
                  <c:v>5616</c:v>
                </c:pt>
                <c:pt idx="170">
                  <c:v>5616</c:v>
                </c:pt>
                <c:pt idx="171">
                  <c:v>5616</c:v>
                </c:pt>
                <c:pt idx="172">
                  <c:v>5616</c:v>
                </c:pt>
                <c:pt idx="173">
                  <c:v>5616</c:v>
                </c:pt>
                <c:pt idx="174">
                  <c:v>5616</c:v>
                </c:pt>
                <c:pt idx="175">
                  <c:v>5616</c:v>
                </c:pt>
                <c:pt idx="176">
                  <c:v>5616</c:v>
                </c:pt>
                <c:pt idx="177">
                  <c:v>5616</c:v>
                </c:pt>
                <c:pt idx="178">
                  <c:v>5616</c:v>
                </c:pt>
                <c:pt idx="179">
                  <c:v>5616</c:v>
                </c:pt>
                <c:pt idx="180">
                  <c:v>5616</c:v>
                </c:pt>
                <c:pt idx="181">
                  <c:v>5616</c:v>
                </c:pt>
                <c:pt idx="182">
                  <c:v>56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267-42C6-AC42-927B0F02AEC7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6 25-29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D$5:$D$187</c:f>
              <c:numCache>
                <c:formatCode>General</c:formatCode>
                <c:ptCount val="183"/>
                <c:pt idx="0">
                  <c:v>309</c:v>
                </c:pt>
                <c:pt idx="1">
                  <c:v>109</c:v>
                </c:pt>
                <c:pt idx="2">
                  <c:v>15</c:v>
                </c:pt>
                <c:pt idx="3">
                  <c:v>120</c:v>
                </c:pt>
                <c:pt idx="4">
                  <c:v>75</c:v>
                </c:pt>
                <c:pt idx="5">
                  <c:v>267</c:v>
                </c:pt>
                <c:pt idx="6">
                  <c:v>361</c:v>
                </c:pt>
                <c:pt idx="7">
                  <c:v>467</c:v>
                </c:pt>
                <c:pt idx="8">
                  <c:v>611</c:v>
                </c:pt>
                <c:pt idx="9">
                  <c:v>671</c:v>
                </c:pt>
                <c:pt idx="10">
                  <c:v>102</c:v>
                </c:pt>
                <c:pt idx="11">
                  <c:v>95</c:v>
                </c:pt>
                <c:pt idx="12">
                  <c:v>689</c:v>
                </c:pt>
                <c:pt idx="13">
                  <c:v>691</c:v>
                </c:pt>
                <c:pt idx="14">
                  <c:v>646</c:v>
                </c:pt>
                <c:pt idx="15">
                  <c:v>649</c:v>
                </c:pt>
                <c:pt idx="16">
                  <c:v>599</c:v>
                </c:pt>
                <c:pt idx="17">
                  <c:v>71</c:v>
                </c:pt>
                <c:pt idx="18">
                  <c:v>55</c:v>
                </c:pt>
                <c:pt idx="19">
                  <c:v>345</c:v>
                </c:pt>
                <c:pt idx="20">
                  <c:v>261</c:v>
                </c:pt>
                <c:pt idx="21">
                  <c:v>281</c:v>
                </c:pt>
                <c:pt idx="22">
                  <c:v>320</c:v>
                </c:pt>
                <c:pt idx="23">
                  <c:v>271</c:v>
                </c:pt>
                <c:pt idx="24">
                  <c:v>32</c:v>
                </c:pt>
                <c:pt idx="25">
                  <c:v>6</c:v>
                </c:pt>
                <c:pt idx="26">
                  <c:v>170</c:v>
                </c:pt>
                <c:pt idx="27">
                  <c:v>201</c:v>
                </c:pt>
                <c:pt idx="28">
                  <c:v>153</c:v>
                </c:pt>
                <c:pt idx="29">
                  <c:v>129</c:v>
                </c:pt>
                <c:pt idx="30">
                  <c:v>94</c:v>
                </c:pt>
                <c:pt idx="31">
                  <c:v>5</c:v>
                </c:pt>
                <c:pt idx="32">
                  <c:v>8</c:v>
                </c:pt>
                <c:pt idx="33">
                  <c:v>81</c:v>
                </c:pt>
                <c:pt idx="34">
                  <c:v>97</c:v>
                </c:pt>
                <c:pt idx="35">
                  <c:v>81</c:v>
                </c:pt>
                <c:pt idx="36">
                  <c:v>83</c:v>
                </c:pt>
                <c:pt idx="37">
                  <c:v>82</c:v>
                </c:pt>
                <c:pt idx="38">
                  <c:v>2</c:v>
                </c:pt>
                <c:pt idx="39">
                  <c:v>4</c:v>
                </c:pt>
                <c:pt idx="40">
                  <c:v>72</c:v>
                </c:pt>
                <c:pt idx="41">
                  <c:v>89</c:v>
                </c:pt>
                <c:pt idx="42">
                  <c:v>90</c:v>
                </c:pt>
                <c:pt idx="43">
                  <c:v>131</c:v>
                </c:pt>
                <c:pt idx="44">
                  <c:v>127</c:v>
                </c:pt>
                <c:pt idx="45">
                  <c:v>27</c:v>
                </c:pt>
                <c:pt idx="46">
                  <c:v>14</c:v>
                </c:pt>
                <c:pt idx="47">
                  <c:v>157</c:v>
                </c:pt>
                <c:pt idx="48">
                  <c:v>181</c:v>
                </c:pt>
                <c:pt idx="49">
                  <c:v>233</c:v>
                </c:pt>
                <c:pt idx="50">
                  <c:v>183</c:v>
                </c:pt>
                <c:pt idx="51">
                  <c:v>249</c:v>
                </c:pt>
                <c:pt idx="52">
                  <c:v>45</c:v>
                </c:pt>
                <c:pt idx="53">
                  <c:v>11</c:v>
                </c:pt>
                <c:pt idx="54">
                  <c:v>255</c:v>
                </c:pt>
                <c:pt idx="55">
                  <c:v>322</c:v>
                </c:pt>
                <c:pt idx="56">
                  <c:v>317</c:v>
                </c:pt>
                <c:pt idx="57">
                  <c:v>383</c:v>
                </c:pt>
                <c:pt idx="58">
                  <c:v>403</c:v>
                </c:pt>
                <c:pt idx="59">
                  <c:v>57</c:v>
                </c:pt>
                <c:pt idx="60">
                  <c:v>58</c:v>
                </c:pt>
                <c:pt idx="61">
                  <c:v>402</c:v>
                </c:pt>
                <c:pt idx="62">
                  <c:v>508</c:v>
                </c:pt>
                <c:pt idx="63">
                  <c:v>577</c:v>
                </c:pt>
                <c:pt idx="64">
                  <c:v>461</c:v>
                </c:pt>
                <c:pt idx="65">
                  <c:v>448</c:v>
                </c:pt>
                <c:pt idx="66">
                  <c:v>202</c:v>
                </c:pt>
                <c:pt idx="67">
                  <c:v>206</c:v>
                </c:pt>
                <c:pt idx="68">
                  <c:v>440</c:v>
                </c:pt>
                <c:pt idx="69">
                  <c:v>550</c:v>
                </c:pt>
                <c:pt idx="70">
                  <c:v>585</c:v>
                </c:pt>
                <c:pt idx="71">
                  <c:v>665</c:v>
                </c:pt>
                <c:pt idx="72">
                  <c:v>606</c:v>
                </c:pt>
                <c:pt idx="73">
                  <c:v>184</c:v>
                </c:pt>
                <c:pt idx="74">
                  <c:v>139</c:v>
                </c:pt>
                <c:pt idx="75">
                  <c:v>432</c:v>
                </c:pt>
                <c:pt idx="76">
                  <c:v>601</c:v>
                </c:pt>
                <c:pt idx="77">
                  <c:v>511</c:v>
                </c:pt>
                <c:pt idx="78">
                  <c:v>504</c:v>
                </c:pt>
                <c:pt idx="79">
                  <c:v>529</c:v>
                </c:pt>
                <c:pt idx="80">
                  <c:v>220</c:v>
                </c:pt>
                <c:pt idx="81">
                  <c:v>138</c:v>
                </c:pt>
                <c:pt idx="82">
                  <c:v>300</c:v>
                </c:pt>
                <c:pt idx="83">
                  <c:v>402</c:v>
                </c:pt>
                <c:pt idx="84">
                  <c:v>416</c:v>
                </c:pt>
                <c:pt idx="85">
                  <c:v>467</c:v>
                </c:pt>
                <c:pt idx="86">
                  <c:v>501</c:v>
                </c:pt>
                <c:pt idx="87">
                  <c:v>133</c:v>
                </c:pt>
                <c:pt idx="88">
                  <c:v>92</c:v>
                </c:pt>
                <c:pt idx="89">
                  <c:v>251</c:v>
                </c:pt>
                <c:pt idx="90">
                  <c:v>371</c:v>
                </c:pt>
                <c:pt idx="91">
                  <c:v>398</c:v>
                </c:pt>
                <c:pt idx="92">
                  <c:v>459</c:v>
                </c:pt>
                <c:pt idx="93">
                  <c:v>150</c:v>
                </c:pt>
                <c:pt idx="94">
                  <c:v>88</c:v>
                </c:pt>
                <c:pt idx="95">
                  <c:v>40</c:v>
                </c:pt>
                <c:pt idx="96">
                  <c:v>37</c:v>
                </c:pt>
                <c:pt idx="97">
                  <c:v>188</c:v>
                </c:pt>
                <c:pt idx="98">
                  <c:v>269</c:v>
                </c:pt>
                <c:pt idx="99">
                  <c:v>535</c:v>
                </c:pt>
                <c:pt idx="100">
                  <c:v>745</c:v>
                </c:pt>
                <c:pt idx="101">
                  <c:v>226</c:v>
                </c:pt>
                <c:pt idx="102">
                  <c:v>166</c:v>
                </c:pt>
                <c:pt idx="103">
                  <c:v>428</c:v>
                </c:pt>
                <c:pt idx="104">
                  <c:v>412</c:v>
                </c:pt>
                <c:pt idx="105">
                  <c:v>448</c:v>
                </c:pt>
                <c:pt idx="106">
                  <c:v>684</c:v>
                </c:pt>
                <c:pt idx="107">
                  <c:v>763</c:v>
                </c:pt>
                <c:pt idx="108">
                  <c:v>351</c:v>
                </c:pt>
                <c:pt idx="109">
                  <c:v>366</c:v>
                </c:pt>
                <c:pt idx="110">
                  <c:v>712</c:v>
                </c:pt>
                <c:pt idx="111">
                  <c:v>631</c:v>
                </c:pt>
                <c:pt idx="112">
                  <c:v>613</c:v>
                </c:pt>
                <c:pt idx="113">
                  <c:v>770</c:v>
                </c:pt>
                <c:pt idx="114">
                  <c:v>1055</c:v>
                </c:pt>
                <c:pt idx="115">
                  <c:v>401</c:v>
                </c:pt>
                <c:pt idx="116">
                  <c:v>242</c:v>
                </c:pt>
                <c:pt idx="117">
                  <c:v>611</c:v>
                </c:pt>
                <c:pt idx="118">
                  <c:v>496</c:v>
                </c:pt>
                <c:pt idx="119">
                  <c:v>596</c:v>
                </c:pt>
                <c:pt idx="120">
                  <c:v>588</c:v>
                </c:pt>
                <c:pt idx="121">
                  <c:v>792</c:v>
                </c:pt>
                <c:pt idx="122">
                  <c:v>211</c:v>
                </c:pt>
                <c:pt idx="123">
                  <c:v>199</c:v>
                </c:pt>
                <c:pt idx="124">
                  <c:v>579</c:v>
                </c:pt>
                <c:pt idx="125">
                  <c:v>650</c:v>
                </c:pt>
                <c:pt idx="126">
                  <c:v>722</c:v>
                </c:pt>
                <c:pt idx="127">
                  <c:v>847</c:v>
                </c:pt>
                <c:pt idx="128">
                  <c:v>1039</c:v>
                </c:pt>
                <c:pt idx="129">
                  <c:v>441</c:v>
                </c:pt>
                <c:pt idx="130">
                  <c:v>345</c:v>
                </c:pt>
                <c:pt idx="131">
                  <c:v>823</c:v>
                </c:pt>
                <c:pt idx="132">
                  <c:v>896</c:v>
                </c:pt>
                <c:pt idx="133">
                  <c:v>896</c:v>
                </c:pt>
                <c:pt idx="134">
                  <c:v>896</c:v>
                </c:pt>
                <c:pt idx="135">
                  <c:v>896</c:v>
                </c:pt>
                <c:pt idx="136">
                  <c:v>896</c:v>
                </c:pt>
                <c:pt idx="137">
                  <c:v>896</c:v>
                </c:pt>
                <c:pt idx="138">
                  <c:v>896</c:v>
                </c:pt>
                <c:pt idx="139">
                  <c:v>896</c:v>
                </c:pt>
                <c:pt idx="140">
                  <c:v>896</c:v>
                </c:pt>
                <c:pt idx="141">
                  <c:v>896</c:v>
                </c:pt>
                <c:pt idx="142">
                  <c:v>896</c:v>
                </c:pt>
                <c:pt idx="143">
                  <c:v>896</c:v>
                </c:pt>
                <c:pt idx="144">
                  <c:v>896</c:v>
                </c:pt>
                <c:pt idx="145">
                  <c:v>896</c:v>
                </c:pt>
                <c:pt idx="146">
                  <c:v>896</c:v>
                </c:pt>
                <c:pt idx="147">
                  <c:v>896</c:v>
                </c:pt>
                <c:pt idx="148">
                  <c:v>896</c:v>
                </c:pt>
                <c:pt idx="149">
                  <c:v>896</c:v>
                </c:pt>
                <c:pt idx="150">
                  <c:v>896</c:v>
                </c:pt>
                <c:pt idx="151">
                  <c:v>896</c:v>
                </c:pt>
                <c:pt idx="152">
                  <c:v>896</c:v>
                </c:pt>
                <c:pt idx="153">
                  <c:v>7544</c:v>
                </c:pt>
                <c:pt idx="154">
                  <c:v>7544</c:v>
                </c:pt>
                <c:pt idx="155">
                  <c:v>7544</c:v>
                </c:pt>
                <c:pt idx="156">
                  <c:v>7544</c:v>
                </c:pt>
                <c:pt idx="157">
                  <c:v>7544</c:v>
                </c:pt>
                <c:pt idx="158">
                  <c:v>7544</c:v>
                </c:pt>
                <c:pt idx="159">
                  <c:v>7544</c:v>
                </c:pt>
                <c:pt idx="160">
                  <c:v>7544</c:v>
                </c:pt>
                <c:pt idx="161">
                  <c:v>7544</c:v>
                </c:pt>
                <c:pt idx="162">
                  <c:v>7544</c:v>
                </c:pt>
                <c:pt idx="163">
                  <c:v>7544</c:v>
                </c:pt>
                <c:pt idx="164">
                  <c:v>7544</c:v>
                </c:pt>
                <c:pt idx="165">
                  <c:v>7544</c:v>
                </c:pt>
                <c:pt idx="166">
                  <c:v>7544</c:v>
                </c:pt>
                <c:pt idx="167">
                  <c:v>7544</c:v>
                </c:pt>
                <c:pt idx="168">
                  <c:v>7544</c:v>
                </c:pt>
                <c:pt idx="169">
                  <c:v>7544</c:v>
                </c:pt>
                <c:pt idx="170">
                  <c:v>7544</c:v>
                </c:pt>
                <c:pt idx="171">
                  <c:v>7544</c:v>
                </c:pt>
                <c:pt idx="172">
                  <c:v>7544</c:v>
                </c:pt>
                <c:pt idx="173">
                  <c:v>7544</c:v>
                </c:pt>
                <c:pt idx="174">
                  <c:v>7544</c:v>
                </c:pt>
                <c:pt idx="175">
                  <c:v>7544</c:v>
                </c:pt>
                <c:pt idx="176">
                  <c:v>7544</c:v>
                </c:pt>
                <c:pt idx="177">
                  <c:v>7544</c:v>
                </c:pt>
                <c:pt idx="178">
                  <c:v>7544</c:v>
                </c:pt>
                <c:pt idx="179">
                  <c:v>7544</c:v>
                </c:pt>
                <c:pt idx="180">
                  <c:v>7544</c:v>
                </c:pt>
                <c:pt idx="181">
                  <c:v>7544</c:v>
                </c:pt>
                <c:pt idx="182">
                  <c:v>75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267-42C6-AC42-927B0F02AEC7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7 30-34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E$5:$E$187</c:f>
              <c:numCache>
                <c:formatCode>General</c:formatCode>
                <c:ptCount val="183"/>
                <c:pt idx="0">
                  <c:v>258</c:v>
                </c:pt>
                <c:pt idx="1">
                  <c:v>107</c:v>
                </c:pt>
                <c:pt idx="2">
                  <c:v>17</c:v>
                </c:pt>
                <c:pt idx="3">
                  <c:v>103</c:v>
                </c:pt>
                <c:pt idx="4">
                  <c:v>85</c:v>
                </c:pt>
                <c:pt idx="5">
                  <c:v>287</c:v>
                </c:pt>
                <c:pt idx="6">
                  <c:v>364</c:v>
                </c:pt>
                <c:pt idx="7">
                  <c:v>438</c:v>
                </c:pt>
                <c:pt idx="8">
                  <c:v>564</c:v>
                </c:pt>
                <c:pt idx="9">
                  <c:v>661</c:v>
                </c:pt>
                <c:pt idx="10">
                  <c:v>110</c:v>
                </c:pt>
                <c:pt idx="11">
                  <c:v>111</c:v>
                </c:pt>
                <c:pt idx="12">
                  <c:v>661</c:v>
                </c:pt>
                <c:pt idx="13">
                  <c:v>828</c:v>
                </c:pt>
                <c:pt idx="14">
                  <c:v>765</c:v>
                </c:pt>
                <c:pt idx="15">
                  <c:v>775</c:v>
                </c:pt>
                <c:pt idx="16">
                  <c:v>705</c:v>
                </c:pt>
                <c:pt idx="17">
                  <c:v>87</c:v>
                </c:pt>
                <c:pt idx="18">
                  <c:v>52</c:v>
                </c:pt>
                <c:pt idx="19">
                  <c:v>437</c:v>
                </c:pt>
                <c:pt idx="20">
                  <c:v>369</c:v>
                </c:pt>
                <c:pt idx="21">
                  <c:v>340</c:v>
                </c:pt>
                <c:pt idx="22">
                  <c:v>345</c:v>
                </c:pt>
                <c:pt idx="23">
                  <c:v>309</c:v>
                </c:pt>
                <c:pt idx="24">
                  <c:v>40</c:v>
                </c:pt>
                <c:pt idx="25">
                  <c:v>11</c:v>
                </c:pt>
                <c:pt idx="26">
                  <c:v>210</c:v>
                </c:pt>
                <c:pt idx="27">
                  <c:v>181</c:v>
                </c:pt>
                <c:pt idx="28">
                  <c:v>195</c:v>
                </c:pt>
                <c:pt idx="29">
                  <c:v>149</c:v>
                </c:pt>
                <c:pt idx="30">
                  <c:v>96</c:v>
                </c:pt>
                <c:pt idx="31">
                  <c:v>8</c:v>
                </c:pt>
                <c:pt idx="32">
                  <c:v>4</c:v>
                </c:pt>
                <c:pt idx="33">
                  <c:v>104</c:v>
                </c:pt>
                <c:pt idx="34">
                  <c:v>86</c:v>
                </c:pt>
                <c:pt idx="35">
                  <c:v>107</c:v>
                </c:pt>
                <c:pt idx="36">
                  <c:v>82</c:v>
                </c:pt>
                <c:pt idx="37">
                  <c:v>103</c:v>
                </c:pt>
                <c:pt idx="38">
                  <c:v>2</c:v>
                </c:pt>
                <c:pt idx="39">
                  <c:v>2</c:v>
                </c:pt>
                <c:pt idx="40">
                  <c:v>89</c:v>
                </c:pt>
                <c:pt idx="41">
                  <c:v>107</c:v>
                </c:pt>
                <c:pt idx="42">
                  <c:v>132</c:v>
                </c:pt>
                <c:pt idx="43">
                  <c:v>156</c:v>
                </c:pt>
                <c:pt idx="44">
                  <c:v>140</c:v>
                </c:pt>
                <c:pt idx="45">
                  <c:v>31</c:v>
                </c:pt>
                <c:pt idx="46">
                  <c:v>12</c:v>
                </c:pt>
                <c:pt idx="47">
                  <c:v>170</c:v>
                </c:pt>
                <c:pt idx="48">
                  <c:v>170</c:v>
                </c:pt>
                <c:pt idx="49">
                  <c:v>230</c:v>
                </c:pt>
                <c:pt idx="50">
                  <c:v>237</c:v>
                </c:pt>
                <c:pt idx="51">
                  <c:v>270</c:v>
                </c:pt>
                <c:pt idx="52">
                  <c:v>54</c:v>
                </c:pt>
                <c:pt idx="53">
                  <c:v>20</c:v>
                </c:pt>
                <c:pt idx="54">
                  <c:v>264</c:v>
                </c:pt>
                <c:pt idx="55">
                  <c:v>369</c:v>
                </c:pt>
                <c:pt idx="56">
                  <c:v>425</c:v>
                </c:pt>
                <c:pt idx="57">
                  <c:v>466</c:v>
                </c:pt>
                <c:pt idx="58">
                  <c:v>429</c:v>
                </c:pt>
                <c:pt idx="59">
                  <c:v>68</c:v>
                </c:pt>
                <c:pt idx="60">
                  <c:v>71</c:v>
                </c:pt>
                <c:pt idx="61">
                  <c:v>504</c:v>
                </c:pt>
                <c:pt idx="62">
                  <c:v>603</c:v>
                </c:pt>
                <c:pt idx="63">
                  <c:v>651</c:v>
                </c:pt>
                <c:pt idx="64">
                  <c:v>512</c:v>
                </c:pt>
                <c:pt idx="65">
                  <c:v>582</c:v>
                </c:pt>
                <c:pt idx="66">
                  <c:v>232</c:v>
                </c:pt>
                <c:pt idx="67">
                  <c:v>217</c:v>
                </c:pt>
                <c:pt idx="68">
                  <c:v>538</c:v>
                </c:pt>
                <c:pt idx="69">
                  <c:v>615</c:v>
                </c:pt>
                <c:pt idx="70">
                  <c:v>662</c:v>
                </c:pt>
                <c:pt idx="71">
                  <c:v>832</c:v>
                </c:pt>
                <c:pt idx="72">
                  <c:v>641</c:v>
                </c:pt>
                <c:pt idx="73">
                  <c:v>207</c:v>
                </c:pt>
                <c:pt idx="74">
                  <c:v>163</c:v>
                </c:pt>
                <c:pt idx="75">
                  <c:v>466</c:v>
                </c:pt>
                <c:pt idx="76">
                  <c:v>722</c:v>
                </c:pt>
                <c:pt idx="77">
                  <c:v>603</c:v>
                </c:pt>
                <c:pt idx="78">
                  <c:v>548</c:v>
                </c:pt>
                <c:pt idx="79">
                  <c:v>575</c:v>
                </c:pt>
                <c:pt idx="80">
                  <c:v>264</c:v>
                </c:pt>
                <c:pt idx="81">
                  <c:v>140</c:v>
                </c:pt>
                <c:pt idx="82">
                  <c:v>360</c:v>
                </c:pt>
                <c:pt idx="83">
                  <c:v>447</c:v>
                </c:pt>
                <c:pt idx="84">
                  <c:v>509</c:v>
                </c:pt>
                <c:pt idx="85">
                  <c:v>503</c:v>
                </c:pt>
                <c:pt idx="86">
                  <c:v>610</c:v>
                </c:pt>
                <c:pt idx="87">
                  <c:v>154</c:v>
                </c:pt>
                <c:pt idx="88">
                  <c:v>127</c:v>
                </c:pt>
                <c:pt idx="89">
                  <c:v>338</c:v>
                </c:pt>
                <c:pt idx="90">
                  <c:v>435</c:v>
                </c:pt>
                <c:pt idx="91">
                  <c:v>472</c:v>
                </c:pt>
                <c:pt idx="92">
                  <c:v>553</c:v>
                </c:pt>
                <c:pt idx="93">
                  <c:v>160</c:v>
                </c:pt>
                <c:pt idx="94">
                  <c:v>97</c:v>
                </c:pt>
                <c:pt idx="95">
                  <c:v>40</c:v>
                </c:pt>
                <c:pt idx="96">
                  <c:v>47</c:v>
                </c:pt>
                <c:pt idx="97">
                  <c:v>247</c:v>
                </c:pt>
                <c:pt idx="98">
                  <c:v>415</c:v>
                </c:pt>
                <c:pt idx="99">
                  <c:v>655</c:v>
                </c:pt>
                <c:pt idx="100">
                  <c:v>994</c:v>
                </c:pt>
                <c:pt idx="101">
                  <c:v>306</c:v>
                </c:pt>
                <c:pt idx="102">
                  <c:v>177</c:v>
                </c:pt>
                <c:pt idx="103">
                  <c:v>546</c:v>
                </c:pt>
                <c:pt idx="104">
                  <c:v>571</c:v>
                </c:pt>
                <c:pt idx="105">
                  <c:v>586</c:v>
                </c:pt>
                <c:pt idx="106">
                  <c:v>892</c:v>
                </c:pt>
                <c:pt idx="107">
                  <c:v>998</c:v>
                </c:pt>
                <c:pt idx="108">
                  <c:v>425</c:v>
                </c:pt>
                <c:pt idx="109">
                  <c:v>381</c:v>
                </c:pt>
                <c:pt idx="110">
                  <c:v>906</c:v>
                </c:pt>
                <c:pt idx="111">
                  <c:v>789</c:v>
                </c:pt>
                <c:pt idx="112">
                  <c:v>890</c:v>
                </c:pt>
                <c:pt idx="113">
                  <c:v>919</c:v>
                </c:pt>
                <c:pt idx="114">
                  <c:v>1349</c:v>
                </c:pt>
                <c:pt idx="115">
                  <c:v>389</c:v>
                </c:pt>
                <c:pt idx="116">
                  <c:v>344</c:v>
                </c:pt>
                <c:pt idx="117">
                  <c:v>747</c:v>
                </c:pt>
                <c:pt idx="118">
                  <c:v>654</c:v>
                </c:pt>
                <c:pt idx="119">
                  <c:v>766</c:v>
                </c:pt>
                <c:pt idx="120">
                  <c:v>782</c:v>
                </c:pt>
                <c:pt idx="121">
                  <c:v>1013</c:v>
                </c:pt>
                <c:pt idx="122">
                  <c:v>258</c:v>
                </c:pt>
                <c:pt idx="123">
                  <c:v>258</c:v>
                </c:pt>
                <c:pt idx="124">
                  <c:v>829</c:v>
                </c:pt>
                <c:pt idx="125">
                  <c:v>889</c:v>
                </c:pt>
                <c:pt idx="126">
                  <c:v>1041</c:v>
                </c:pt>
                <c:pt idx="127">
                  <c:v>1202</c:v>
                </c:pt>
                <c:pt idx="128">
                  <c:v>1446</c:v>
                </c:pt>
                <c:pt idx="129">
                  <c:v>591</c:v>
                </c:pt>
                <c:pt idx="130">
                  <c:v>465</c:v>
                </c:pt>
                <c:pt idx="131">
                  <c:v>1074</c:v>
                </c:pt>
                <c:pt idx="132">
                  <c:v>1232</c:v>
                </c:pt>
                <c:pt idx="133">
                  <c:v>1232</c:v>
                </c:pt>
                <c:pt idx="134">
                  <c:v>1232</c:v>
                </c:pt>
                <c:pt idx="135">
                  <c:v>1232</c:v>
                </c:pt>
                <c:pt idx="136">
                  <c:v>1232</c:v>
                </c:pt>
                <c:pt idx="137">
                  <c:v>1232</c:v>
                </c:pt>
                <c:pt idx="138">
                  <c:v>1232</c:v>
                </c:pt>
                <c:pt idx="139">
                  <c:v>1232</c:v>
                </c:pt>
                <c:pt idx="140">
                  <c:v>1232</c:v>
                </c:pt>
                <c:pt idx="141">
                  <c:v>1232</c:v>
                </c:pt>
                <c:pt idx="142">
                  <c:v>1232</c:v>
                </c:pt>
                <c:pt idx="143">
                  <c:v>1232</c:v>
                </c:pt>
                <c:pt idx="144">
                  <c:v>1232</c:v>
                </c:pt>
                <c:pt idx="145">
                  <c:v>1232</c:v>
                </c:pt>
                <c:pt idx="146">
                  <c:v>1232</c:v>
                </c:pt>
                <c:pt idx="147">
                  <c:v>1232</c:v>
                </c:pt>
                <c:pt idx="148">
                  <c:v>1232</c:v>
                </c:pt>
                <c:pt idx="149">
                  <c:v>1232</c:v>
                </c:pt>
                <c:pt idx="150">
                  <c:v>1232</c:v>
                </c:pt>
                <c:pt idx="151">
                  <c:v>1232</c:v>
                </c:pt>
                <c:pt idx="152">
                  <c:v>1232</c:v>
                </c:pt>
                <c:pt idx="153" formatCode="#,##0">
                  <c:v>8178</c:v>
                </c:pt>
                <c:pt idx="154" formatCode="#,##0">
                  <c:v>8178</c:v>
                </c:pt>
                <c:pt idx="155" formatCode="#,##0">
                  <c:v>8178</c:v>
                </c:pt>
                <c:pt idx="156" formatCode="#,##0">
                  <c:v>8178</c:v>
                </c:pt>
                <c:pt idx="157" formatCode="#,##0">
                  <c:v>8178</c:v>
                </c:pt>
                <c:pt idx="158" formatCode="#,##0">
                  <c:v>8178</c:v>
                </c:pt>
                <c:pt idx="159" formatCode="#,##0">
                  <c:v>8178</c:v>
                </c:pt>
                <c:pt idx="160" formatCode="#,##0">
                  <c:v>8178</c:v>
                </c:pt>
                <c:pt idx="161" formatCode="#,##0">
                  <c:v>8178</c:v>
                </c:pt>
                <c:pt idx="162" formatCode="#,##0">
                  <c:v>8178</c:v>
                </c:pt>
                <c:pt idx="163" formatCode="#,##0">
                  <c:v>8178</c:v>
                </c:pt>
                <c:pt idx="164" formatCode="#,##0">
                  <c:v>8178</c:v>
                </c:pt>
                <c:pt idx="165" formatCode="#,##0">
                  <c:v>8178</c:v>
                </c:pt>
                <c:pt idx="166" formatCode="#,##0">
                  <c:v>8178</c:v>
                </c:pt>
                <c:pt idx="167" formatCode="#,##0">
                  <c:v>8178</c:v>
                </c:pt>
                <c:pt idx="168" formatCode="#,##0">
                  <c:v>8178</c:v>
                </c:pt>
                <c:pt idx="169" formatCode="#,##0">
                  <c:v>8178</c:v>
                </c:pt>
                <c:pt idx="170" formatCode="#,##0">
                  <c:v>8178</c:v>
                </c:pt>
                <c:pt idx="171" formatCode="#,##0">
                  <c:v>8178</c:v>
                </c:pt>
                <c:pt idx="172" formatCode="#,##0">
                  <c:v>8178</c:v>
                </c:pt>
                <c:pt idx="173" formatCode="#,##0">
                  <c:v>8178</c:v>
                </c:pt>
                <c:pt idx="174" formatCode="#,##0">
                  <c:v>8178</c:v>
                </c:pt>
                <c:pt idx="175" formatCode="#,##0">
                  <c:v>8178</c:v>
                </c:pt>
                <c:pt idx="176" formatCode="#,##0">
                  <c:v>8178</c:v>
                </c:pt>
                <c:pt idx="177" formatCode="#,##0">
                  <c:v>8178</c:v>
                </c:pt>
                <c:pt idx="178" formatCode="#,##0">
                  <c:v>8178</c:v>
                </c:pt>
                <c:pt idx="179" formatCode="#,##0">
                  <c:v>8178</c:v>
                </c:pt>
                <c:pt idx="180" formatCode="#,##0">
                  <c:v>8178</c:v>
                </c:pt>
                <c:pt idx="181" formatCode="#,##0">
                  <c:v>8178</c:v>
                </c:pt>
                <c:pt idx="182" formatCode="#,##0">
                  <c:v>81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F267-42C6-AC42-927B0F02AEC7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8 35-39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F$5:$F$187</c:f>
              <c:numCache>
                <c:formatCode>General</c:formatCode>
                <c:ptCount val="183"/>
                <c:pt idx="0">
                  <c:v>315</c:v>
                </c:pt>
                <c:pt idx="1">
                  <c:v>116</c:v>
                </c:pt>
                <c:pt idx="2">
                  <c:v>28</c:v>
                </c:pt>
                <c:pt idx="3">
                  <c:v>131</c:v>
                </c:pt>
                <c:pt idx="4">
                  <c:v>92</c:v>
                </c:pt>
                <c:pt idx="5">
                  <c:v>351</c:v>
                </c:pt>
                <c:pt idx="6">
                  <c:v>463</c:v>
                </c:pt>
                <c:pt idx="7">
                  <c:v>566</c:v>
                </c:pt>
                <c:pt idx="8">
                  <c:v>716</c:v>
                </c:pt>
                <c:pt idx="9">
                  <c:v>860</c:v>
                </c:pt>
                <c:pt idx="10">
                  <c:v>176</c:v>
                </c:pt>
                <c:pt idx="11">
                  <c:v>154</c:v>
                </c:pt>
                <c:pt idx="12">
                  <c:v>871</c:v>
                </c:pt>
                <c:pt idx="13">
                  <c:v>1129</c:v>
                </c:pt>
                <c:pt idx="14">
                  <c:v>1115</c:v>
                </c:pt>
                <c:pt idx="15">
                  <c:v>1123</c:v>
                </c:pt>
                <c:pt idx="16">
                  <c:v>944</c:v>
                </c:pt>
                <c:pt idx="17">
                  <c:v>119</c:v>
                </c:pt>
                <c:pt idx="18">
                  <c:v>67</c:v>
                </c:pt>
                <c:pt idx="19">
                  <c:v>646</c:v>
                </c:pt>
                <c:pt idx="20">
                  <c:v>504</c:v>
                </c:pt>
                <c:pt idx="21">
                  <c:v>537</c:v>
                </c:pt>
                <c:pt idx="22">
                  <c:v>538</c:v>
                </c:pt>
                <c:pt idx="23">
                  <c:v>407</c:v>
                </c:pt>
                <c:pt idx="24">
                  <c:v>47</c:v>
                </c:pt>
                <c:pt idx="25">
                  <c:v>28</c:v>
                </c:pt>
                <c:pt idx="26">
                  <c:v>276</c:v>
                </c:pt>
                <c:pt idx="27">
                  <c:v>283</c:v>
                </c:pt>
                <c:pt idx="28">
                  <c:v>279</c:v>
                </c:pt>
                <c:pt idx="29">
                  <c:v>247</c:v>
                </c:pt>
                <c:pt idx="30">
                  <c:v>144</c:v>
                </c:pt>
                <c:pt idx="31">
                  <c:v>6</c:v>
                </c:pt>
                <c:pt idx="32">
                  <c:v>7</c:v>
                </c:pt>
                <c:pt idx="33">
                  <c:v>118</c:v>
                </c:pt>
                <c:pt idx="34">
                  <c:v>131</c:v>
                </c:pt>
                <c:pt idx="35">
                  <c:v>121</c:v>
                </c:pt>
                <c:pt idx="36">
                  <c:v>130</c:v>
                </c:pt>
                <c:pt idx="37">
                  <c:v>128</c:v>
                </c:pt>
                <c:pt idx="38">
                  <c:v>4</c:v>
                </c:pt>
                <c:pt idx="39">
                  <c:v>8</c:v>
                </c:pt>
                <c:pt idx="40">
                  <c:v>108</c:v>
                </c:pt>
                <c:pt idx="41">
                  <c:v>139</c:v>
                </c:pt>
                <c:pt idx="42">
                  <c:v>208</c:v>
                </c:pt>
                <c:pt idx="43">
                  <c:v>225</c:v>
                </c:pt>
                <c:pt idx="44">
                  <c:v>187</c:v>
                </c:pt>
                <c:pt idx="45">
                  <c:v>37</c:v>
                </c:pt>
                <c:pt idx="46">
                  <c:v>19</c:v>
                </c:pt>
                <c:pt idx="47">
                  <c:v>182</c:v>
                </c:pt>
                <c:pt idx="48">
                  <c:v>197</c:v>
                </c:pt>
                <c:pt idx="49">
                  <c:v>291</c:v>
                </c:pt>
                <c:pt idx="50">
                  <c:v>303</c:v>
                </c:pt>
                <c:pt idx="51">
                  <c:v>381</c:v>
                </c:pt>
                <c:pt idx="52">
                  <c:v>57</c:v>
                </c:pt>
                <c:pt idx="53">
                  <c:v>15</c:v>
                </c:pt>
                <c:pt idx="54">
                  <c:v>278</c:v>
                </c:pt>
                <c:pt idx="55">
                  <c:v>484</c:v>
                </c:pt>
                <c:pt idx="56">
                  <c:v>454</c:v>
                </c:pt>
                <c:pt idx="57">
                  <c:v>633</c:v>
                </c:pt>
                <c:pt idx="58">
                  <c:v>525</c:v>
                </c:pt>
                <c:pt idx="59">
                  <c:v>72</c:v>
                </c:pt>
                <c:pt idx="60">
                  <c:v>62</c:v>
                </c:pt>
                <c:pt idx="61">
                  <c:v>750</c:v>
                </c:pt>
                <c:pt idx="62">
                  <c:v>873</c:v>
                </c:pt>
                <c:pt idx="63">
                  <c:v>949</c:v>
                </c:pt>
                <c:pt idx="64">
                  <c:v>895</c:v>
                </c:pt>
                <c:pt idx="65">
                  <c:v>805</c:v>
                </c:pt>
                <c:pt idx="66">
                  <c:v>354</c:v>
                </c:pt>
                <c:pt idx="67">
                  <c:v>364</c:v>
                </c:pt>
                <c:pt idx="68">
                  <c:v>799</c:v>
                </c:pt>
                <c:pt idx="69">
                  <c:v>937</c:v>
                </c:pt>
                <c:pt idx="70">
                  <c:v>994</c:v>
                </c:pt>
                <c:pt idx="71">
                  <c:v>1145</c:v>
                </c:pt>
                <c:pt idx="72">
                  <c:v>943</c:v>
                </c:pt>
                <c:pt idx="73">
                  <c:v>358</c:v>
                </c:pt>
                <c:pt idx="74">
                  <c:v>264</c:v>
                </c:pt>
                <c:pt idx="75">
                  <c:v>662</c:v>
                </c:pt>
                <c:pt idx="76">
                  <c:v>952</c:v>
                </c:pt>
                <c:pt idx="77">
                  <c:v>812</c:v>
                </c:pt>
                <c:pt idx="78">
                  <c:v>776</c:v>
                </c:pt>
                <c:pt idx="79">
                  <c:v>956</c:v>
                </c:pt>
                <c:pt idx="80">
                  <c:v>377</c:v>
                </c:pt>
                <c:pt idx="81">
                  <c:v>164</c:v>
                </c:pt>
                <c:pt idx="82">
                  <c:v>470</c:v>
                </c:pt>
                <c:pt idx="83">
                  <c:v>592</c:v>
                </c:pt>
                <c:pt idx="84">
                  <c:v>610</c:v>
                </c:pt>
                <c:pt idx="85">
                  <c:v>640</c:v>
                </c:pt>
                <c:pt idx="86">
                  <c:v>927</c:v>
                </c:pt>
                <c:pt idx="87">
                  <c:v>251</c:v>
                </c:pt>
                <c:pt idx="88">
                  <c:v>201</c:v>
                </c:pt>
                <c:pt idx="89">
                  <c:v>470</c:v>
                </c:pt>
                <c:pt idx="90">
                  <c:v>586</c:v>
                </c:pt>
                <c:pt idx="91">
                  <c:v>581</c:v>
                </c:pt>
                <c:pt idx="92">
                  <c:v>745</c:v>
                </c:pt>
                <c:pt idx="93">
                  <c:v>213</c:v>
                </c:pt>
                <c:pt idx="94">
                  <c:v>152</c:v>
                </c:pt>
                <c:pt idx="95">
                  <c:v>48</c:v>
                </c:pt>
                <c:pt idx="96">
                  <c:v>66</c:v>
                </c:pt>
                <c:pt idx="97">
                  <c:v>331</c:v>
                </c:pt>
                <c:pt idx="98">
                  <c:v>472</c:v>
                </c:pt>
                <c:pt idx="99">
                  <c:v>963</c:v>
                </c:pt>
                <c:pt idx="100">
                  <c:v>1124</c:v>
                </c:pt>
                <c:pt idx="101">
                  <c:v>676</c:v>
                </c:pt>
                <c:pt idx="102">
                  <c:v>254</c:v>
                </c:pt>
                <c:pt idx="103">
                  <c:v>889</c:v>
                </c:pt>
                <c:pt idx="104">
                  <c:v>779</c:v>
                </c:pt>
                <c:pt idx="105">
                  <c:v>844</c:v>
                </c:pt>
                <c:pt idx="106">
                  <c:v>1192</c:v>
                </c:pt>
                <c:pt idx="107">
                  <c:v>1624</c:v>
                </c:pt>
                <c:pt idx="108">
                  <c:v>750</c:v>
                </c:pt>
                <c:pt idx="109">
                  <c:v>633</c:v>
                </c:pt>
                <c:pt idx="110">
                  <c:v>1420</c:v>
                </c:pt>
                <c:pt idx="111">
                  <c:v>1216</c:v>
                </c:pt>
                <c:pt idx="112">
                  <c:v>1263</c:v>
                </c:pt>
                <c:pt idx="113">
                  <c:v>1311</c:v>
                </c:pt>
                <c:pt idx="114">
                  <c:v>1820</c:v>
                </c:pt>
                <c:pt idx="115">
                  <c:v>462</c:v>
                </c:pt>
                <c:pt idx="116">
                  <c:v>371</c:v>
                </c:pt>
                <c:pt idx="117">
                  <c:v>1021</c:v>
                </c:pt>
                <c:pt idx="118">
                  <c:v>817</c:v>
                </c:pt>
                <c:pt idx="119">
                  <c:v>993</c:v>
                </c:pt>
                <c:pt idx="120">
                  <c:v>1071</c:v>
                </c:pt>
                <c:pt idx="121">
                  <c:v>1385</c:v>
                </c:pt>
                <c:pt idx="122">
                  <c:v>360</c:v>
                </c:pt>
                <c:pt idx="123">
                  <c:v>330</c:v>
                </c:pt>
                <c:pt idx="124">
                  <c:v>1079</c:v>
                </c:pt>
                <c:pt idx="125">
                  <c:v>1241</c:v>
                </c:pt>
                <c:pt idx="126">
                  <c:v>1408</c:v>
                </c:pt>
                <c:pt idx="127">
                  <c:v>1668</c:v>
                </c:pt>
                <c:pt idx="128">
                  <c:v>1891</c:v>
                </c:pt>
                <c:pt idx="129">
                  <c:v>736</c:v>
                </c:pt>
                <c:pt idx="130">
                  <c:v>524</c:v>
                </c:pt>
                <c:pt idx="131">
                  <c:v>1485</c:v>
                </c:pt>
                <c:pt idx="132">
                  <c:v>1640</c:v>
                </c:pt>
                <c:pt idx="133">
                  <c:v>1640</c:v>
                </c:pt>
                <c:pt idx="134">
                  <c:v>1640</c:v>
                </c:pt>
                <c:pt idx="135">
                  <c:v>1640</c:v>
                </c:pt>
                <c:pt idx="136">
                  <c:v>1640</c:v>
                </c:pt>
                <c:pt idx="137">
                  <c:v>1640</c:v>
                </c:pt>
                <c:pt idx="138">
                  <c:v>1640</c:v>
                </c:pt>
                <c:pt idx="139">
                  <c:v>1640</c:v>
                </c:pt>
                <c:pt idx="140">
                  <c:v>1640</c:v>
                </c:pt>
                <c:pt idx="141">
                  <c:v>1640</c:v>
                </c:pt>
                <c:pt idx="142">
                  <c:v>1640</c:v>
                </c:pt>
                <c:pt idx="143">
                  <c:v>1640</c:v>
                </c:pt>
                <c:pt idx="144">
                  <c:v>1640</c:v>
                </c:pt>
                <c:pt idx="145">
                  <c:v>1640</c:v>
                </c:pt>
                <c:pt idx="146">
                  <c:v>1640</c:v>
                </c:pt>
                <c:pt idx="147">
                  <c:v>1640</c:v>
                </c:pt>
                <c:pt idx="148">
                  <c:v>1640</c:v>
                </c:pt>
                <c:pt idx="149">
                  <c:v>1640</c:v>
                </c:pt>
                <c:pt idx="150">
                  <c:v>1640</c:v>
                </c:pt>
                <c:pt idx="151">
                  <c:v>1640</c:v>
                </c:pt>
                <c:pt idx="152">
                  <c:v>1640</c:v>
                </c:pt>
                <c:pt idx="153" formatCode="#,##0">
                  <c:v>8876</c:v>
                </c:pt>
                <c:pt idx="154" formatCode="#,##0">
                  <c:v>8876</c:v>
                </c:pt>
                <c:pt idx="155" formatCode="#,##0">
                  <c:v>8876</c:v>
                </c:pt>
                <c:pt idx="156" formatCode="#,##0">
                  <c:v>8876</c:v>
                </c:pt>
                <c:pt idx="157" formatCode="#,##0">
                  <c:v>8876</c:v>
                </c:pt>
                <c:pt idx="158" formatCode="#,##0">
                  <c:v>8876</c:v>
                </c:pt>
                <c:pt idx="159" formatCode="#,##0">
                  <c:v>8876</c:v>
                </c:pt>
                <c:pt idx="160" formatCode="#,##0">
                  <c:v>8876</c:v>
                </c:pt>
                <c:pt idx="161" formatCode="#,##0">
                  <c:v>8876</c:v>
                </c:pt>
                <c:pt idx="162" formatCode="#,##0">
                  <c:v>8876</c:v>
                </c:pt>
                <c:pt idx="163" formatCode="#,##0">
                  <c:v>8876</c:v>
                </c:pt>
                <c:pt idx="164" formatCode="#,##0">
                  <c:v>8876</c:v>
                </c:pt>
                <c:pt idx="165" formatCode="#,##0">
                  <c:v>8876</c:v>
                </c:pt>
                <c:pt idx="166" formatCode="#,##0">
                  <c:v>8876</c:v>
                </c:pt>
                <c:pt idx="167" formatCode="#,##0">
                  <c:v>8876</c:v>
                </c:pt>
                <c:pt idx="168" formatCode="#,##0">
                  <c:v>8876</c:v>
                </c:pt>
                <c:pt idx="169" formatCode="#,##0">
                  <c:v>8876</c:v>
                </c:pt>
                <c:pt idx="170" formatCode="#,##0">
                  <c:v>8876</c:v>
                </c:pt>
                <c:pt idx="171" formatCode="#,##0">
                  <c:v>8876</c:v>
                </c:pt>
                <c:pt idx="172" formatCode="#,##0">
                  <c:v>8876</c:v>
                </c:pt>
                <c:pt idx="173" formatCode="#,##0">
                  <c:v>8876</c:v>
                </c:pt>
                <c:pt idx="174" formatCode="#,##0">
                  <c:v>8876</c:v>
                </c:pt>
                <c:pt idx="175" formatCode="#,##0">
                  <c:v>8876</c:v>
                </c:pt>
                <c:pt idx="176" formatCode="#,##0">
                  <c:v>8876</c:v>
                </c:pt>
                <c:pt idx="177" formatCode="#,##0">
                  <c:v>8876</c:v>
                </c:pt>
                <c:pt idx="178" formatCode="#,##0">
                  <c:v>8876</c:v>
                </c:pt>
                <c:pt idx="179" formatCode="#,##0">
                  <c:v>8876</c:v>
                </c:pt>
                <c:pt idx="180" formatCode="#,##0">
                  <c:v>8876</c:v>
                </c:pt>
                <c:pt idx="181" formatCode="#,##0">
                  <c:v>8876</c:v>
                </c:pt>
                <c:pt idx="182" formatCode="#,##0">
                  <c:v>88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F267-42C6-AC42-927B0F02AEC7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9 40-44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G$5:$G$187</c:f>
              <c:numCache>
                <c:formatCode>General</c:formatCode>
                <c:ptCount val="183"/>
                <c:pt idx="0">
                  <c:v>480</c:v>
                </c:pt>
                <c:pt idx="1">
                  <c:v>154</c:v>
                </c:pt>
                <c:pt idx="2">
                  <c:v>45</c:v>
                </c:pt>
                <c:pt idx="3">
                  <c:v>200</c:v>
                </c:pt>
                <c:pt idx="4">
                  <c:v>149</c:v>
                </c:pt>
                <c:pt idx="5">
                  <c:v>513</c:v>
                </c:pt>
                <c:pt idx="6">
                  <c:v>641</c:v>
                </c:pt>
                <c:pt idx="7">
                  <c:v>833</c:v>
                </c:pt>
                <c:pt idx="8">
                  <c:v>993</c:v>
                </c:pt>
                <c:pt idx="9">
                  <c:v>1273</c:v>
                </c:pt>
                <c:pt idx="10">
                  <c:v>205</c:v>
                </c:pt>
                <c:pt idx="11">
                  <c:v>207</c:v>
                </c:pt>
                <c:pt idx="12">
                  <c:v>1329</c:v>
                </c:pt>
                <c:pt idx="13">
                  <c:v>1570</c:v>
                </c:pt>
                <c:pt idx="14">
                  <c:v>1465</c:v>
                </c:pt>
                <c:pt idx="15">
                  <c:v>1584</c:v>
                </c:pt>
                <c:pt idx="16">
                  <c:v>1412</c:v>
                </c:pt>
                <c:pt idx="17">
                  <c:v>211</c:v>
                </c:pt>
                <c:pt idx="18">
                  <c:v>78</c:v>
                </c:pt>
                <c:pt idx="19">
                  <c:v>974</c:v>
                </c:pt>
                <c:pt idx="20">
                  <c:v>827</c:v>
                </c:pt>
                <c:pt idx="21">
                  <c:v>737</c:v>
                </c:pt>
                <c:pt idx="22">
                  <c:v>852</c:v>
                </c:pt>
                <c:pt idx="23">
                  <c:v>701</c:v>
                </c:pt>
                <c:pt idx="24">
                  <c:v>72</c:v>
                </c:pt>
                <c:pt idx="25">
                  <c:v>33</c:v>
                </c:pt>
                <c:pt idx="26">
                  <c:v>366</c:v>
                </c:pt>
                <c:pt idx="27">
                  <c:v>415</c:v>
                </c:pt>
                <c:pt idx="28">
                  <c:v>403</c:v>
                </c:pt>
                <c:pt idx="29">
                  <c:v>303</c:v>
                </c:pt>
                <c:pt idx="30">
                  <c:v>261</c:v>
                </c:pt>
                <c:pt idx="31">
                  <c:v>12</c:v>
                </c:pt>
                <c:pt idx="32">
                  <c:v>10</c:v>
                </c:pt>
                <c:pt idx="33">
                  <c:v>152</c:v>
                </c:pt>
                <c:pt idx="34">
                  <c:v>164</c:v>
                </c:pt>
                <c:pt idx="35">
                  <c:v>198</c:v>
                </c:pt>
                <c:pt idx="36">
                  <c:v>177</c:v>
                </c:pt>
                <c:pt idx="37">
                  <c:v>209</c:v>
                </c:pt>
                <c:pt idx="38">
                  <c:v>7</c:v>
                </c:pt>
                <c:pt idx="39">
                  <c:v>5</c:v>
                </c:pt>
                <c:pt idx="40">
                  <c:v>156</c:v>
                </c:pt>
                <c:pt idx="41">
                  <c:v>245</c:v>
                </c:pt>
                <c:pt idx="42">
                  <c:v>332</c:v>
                </c:pt>
                <c:pt idx="43">
                  <c:v>296</c:v>
                </c:pt>
                <c:pt idx="44">
                  <c:v>304</c:v>
                </c:pt>
                <c:pt idx="45">
                  <c:v>62</c:v>
                </c:pt>
                <c:pt idx="46">
                  <c:v>28</c:v>
                </c:pt>
                <c:pt idx="47">
                  <c:v>266</c:v>
                </c:pt>
                <c:pt idx="48">
                  <c:v>330</c:v>
                </c:pt>
                <c:pt idx="49">
                  <c:v>399</c:v>
                </c:pt>
                <c:pt idx="50">
                  <c:v>442</c:v>
                </c:pt>
                <c:pt idx="51">
                  <c:v>524</c:v>
                </c:pt>
                <c:pt idx="52">
                  <c:v>79</c:v>
                </c:pt>
                <c:pt idx="53">
                  <c:v>18</c:v>
                </c:pt>
                <c:pt idx="54">
                  <c:v>424</c:v>
                </c:pt>
                <c:pt idx="55">
                  <c:v>593</c:v>
                </c:pt>
                <c:pt idx="56">
                  <c:v>602</c:v>
                </c:pt>
                <c:pt idx="57">
                  <c:v>859</c:v>
                </c:pt>
                <c:pt idx="58">
                  <c:v>748</c:v>
                </c:pt>
                <c:pt idx="59">
                  <c:v>133</c:v>
                </c:pt>
                <c:pt idx="60">
                  <c:v>125</c:v>
                </c:pt>
                <c:pt idx="61">
                  <c:v>1078</c:v>
                </c:pt>
                <c:pt idx="62">
                  <c:v>1484</c:v>
                </c:pt>
                <c:pt idx="63">
                  <c:v>1623</c:v>
                </c:pt>
                <c:pt idx="64">
                  <c:v>1415</c:v>
                </c:pt>
                <c:pt idx="65">
                  <c:v>1358</c:v>
                </c:pt>
                <c:pt idx="66">
                  <c:v>554</c:v>
                </c:pt>
                <c:pt idx="67">
                  <c:v>621</c:v>
                </c:pt>
                <c:pt idx="68">
                  <c:v>1273</c:v>
                </c:pt>
                <c:pt idx="69">
                  <c:v>1531</c:v>
                </c:pt>
                <c:pt idx="70">
                  <c:v>1446</c:v>
                </c:pt>
                <c:pt idx="71">
                  <c:v>1689</c:v>
                </c:pt>
                <c:pt idx="72">
                  <c:v>1744</c:v>
                </c:pt>
                <c:pt idx="73">
                  <c:v>646</c:v>
                </c:pt>
                <c:pt idx="74">
                  <c:v>480</c:v>
                </c:pt>
                <c:pt idx="75">
                  <c:v>1157</c:v>
                </c:pt>
                <c:pt idx="76">
                  <c:v>1681</c:v>
                </c:pt>
                <c:pt idx="77">
                  <c:v>1328</c:v>
                </c:pt>
                <c:pt idx="78">
                  <c:v>1261</c:v>
                </c:pt>
                <c:pt idx="79">
                  <c:v>1442</c:v>
                </c:pt>
                <c:pt idx="80">
                  <c:v>529</c:v>
                </c:pt>
                <c:pt idx="81">
                  <c:v>236</c:v>
                </c:pt>
                <c:pt idx="82">
                  <c:v>870</c:v>
                </c:pt>
                <c:pt idx="83">
                  <c:v>872</c:v>
                </c:pt>
                <c:pt idx="84">
                  <c:v>994</c:v>
                </c:pt>
                <c:pt idx="85">
                  <c:v>1098</c:v>
                </c:pt>
                <c:pt idx="86">
                  <c:v>1315</c:v>
                </c:pt>
                <c:pt idx="87">
                  <c:v>294</c:v>
                </c:pt>
                <c:pt idx="88">
                  <c:v>302</c:v>
                </c:pt>
                <c:pt idx="89">
                  <c:v>769</c:v>
                </c:pt>
                <c:pt idx="90">
                  <c:v>956</c:v>
                </c:pt>
                <c:pt idx="91">
                  <c:v>874</c:v>
                </c:pt>
                <c:pt idx="92">
                  <c:v>1070</c:v>
                </c:pt>
                <c:pt idx="93">
                  <c:v>296</c:v>
                </c:pt>
                <c:pt idx="94">
                  <c:v>174</c:v>
                </c:pt>
                <c:pt idx="95">
                  <c:v>92</c:v>
                </c:pt>
                <c:pt idx="96">
                  <c:v>54</c:v>
                </c:pt>
                <c:pt idx="97">
                  <c:v>463</c:v>
                </c:pt>
                <c:pt idx="98">
                  <c:v>773</c:v>
                </c:pt>
                <c:pt idx="99">
                  <c:v>1296</c:v>
                </c:pt>
                <c:pt idx="100">
                  <c:v>1612</c:v>
                </c:pt>
                <c:pt idx="101">
                  <c:v>1030</c:v>
                </c:pt>
                <c:pt idx="102">
                  <c:v>519</c:v>
                </c:pt>
                <c:pt idx="103">
                  <c:v>1342</c:v>
                </c:pt>
                <c:pt idx="104">
                  <c:v>1457</c:v>
                </c:pt>
                <c:pt idx="105">
                  <c:v>1298</c:v>
                </c:pt>
                <c:pt idx="106">
                  <c:v>1905</c:v>
                </c:pt>
                <c:pt idx="107">
                  <c:v>2634</c:v>
                </c:pt>
                <c:pt idx="108">
                  <c:v>1071</c:v>
                </c:pt>
                <c:pt idx="109">
                  <c:v>814</c:v>
                </c:pt>
                <c:pt idx="110">
                  <c:v>2146</c:v>
                </c:pt>
                <c:pt idx="111">
                  <c:v>1838</c:v>
                </c:pt>
                <c:pt idx="112">
                  <c:v>1742</c:v>
                </c:pt>
                <c:pt idx="113">
                  <c:v>2045</c:v>
                </c:pt>
                <c:pt idx="114">
                  <c:v>2757</c:v>
                </c:pt>
                <c:pt idx="115">
                  <c:v>742</c:v>
                </c:pt>
                <c:pt idx="116">
                  <c:v>491</c:v>
                </c:pt>
                <c:pt idx="117">
                  <c:v>1357</c:v>
                </c:pt>
                <c:pt idx="118">
                  <c:v>1157</c:v>
                </c:pt>
                <c:pt idx="119">
                  <c:v>1458</c:v>
                </c:pt>
                <c:pt idx="120">
                  <c:v>1706</c:v>
                </c:pt>
                <c:pt idx="121">
                  <c:v>2143</c:v>
                </c:pt>
                <c:pt idx="122">
                  <c:v>605</c:v>
                </c:pt>
                <c:pt idx="123">
                  <c:v>488</c:v>
                </c:pt>
                <c:pt idx="124">
                  <c:v>1699</c:v>
                </c:pt>
                <c:pt idx="125">
                  <c:v>1957</c:v>
                </c:pt>
                <c:pt idx="126">
                  <c:v>1993</c:v>
                </c:pt>
                <c:pt idx="127">
                  <c:v>2615</c:v>
                </c:pt>
                <c:pt idx="128">
                  <c:v>2734</c:v>
                </c:pt>
                <c:pt idx="129">
                  <c:v>1047</c:v>
                </c:pt>
                <c:pt idx="130">
                  <c:v>768</c:v>
                </c:pt>
                <c:pt idx="131">
                  <c:v>2018</c:v>
                </c:pt>
                <c:pt idx="132">
                  <c:v>2436</c:v>
                </c:pt>
                <c:pt idx="133">
                  <c:v>2436</c:v>
                </c:pt>
                <c:pt idx="134">
                  <c:v>2436</c:v>
                </c:pt>
                <c:pt idx="135">
                  <c:v>2436</c:v>
                </c:pt>
                <c:pt idx="136">
                  <c:v>2436</c:v>
                </c:pt>
                <c:pt idx="137">
                  <c:v>2436</c:v>
                </c:pt>
                <c:pt idx="138">
                  <c:v>2436</c:v>
                </c:pt>
                <c:pt idx="139">
                  <c:v>2436</c:v>
                </c:pt>
                <c:pt idx="140">
                  <c:v>2436</c:v>
                </c:pt>
                <c:pt idx="141">
                  <c:v>2436</c:v>
                </c:pt>
                <c:pt idx="142">
                  <c:v>2436</c:v>
                </c:pt>
                <c:pt idx="143">
                  <c:v>2436</c:v>
                </c:pt>
                <c:pt idx="144">
                  <c:v>2436</c:v>
                </c:pt>
                <c:pt idx="145">
                  <c:v>2436</c:v>
                </c:pt>
                <c:pt idx="146">
                  <c:v>2436</c:v>
                </c:pt>
                <c:pt idx="147">
                  <c:v>2436</c:v>
                </c:pt>
                <c:pt idx="148">
                  <c:v>2436</c:v>
                </c:pt>
                <c:pt idx="149">
                  <c:v>2436</c:v>
                </c:pt>
                <c:pt idx="150">
                  <c:v>2436</c:v>
                </c:pt>
                <c:pt idx="151">
                  <c:v>2436</c:v>
                </c:pt>
                <c:pt idx="152">
                  <c:v>2436</c:v>
                </c:pt>
                <c:pt idx="153" formatCode="#,##0">
                  <c:v>10573</c:v>
                </c:pt>
                <c:pt idx="154" formatCode="#,##0">
                  <c:v>10573</c:v>
                </c:pt>
                <c:pt idx="155" formatCode="#,##0">
                  <c:v>10573</c:v>
                </c:pt>
                <c:pt idx="156" formatCode="#,##0">
                  <c:v>10573</c:v>
                </c:pt>
                <c:pt idx="157" formatCode="#,##0">
                  <c:v>10573</c:v>
                </c:pt>
                <c:pt idx="158" formatCode="#,##0">
                  <c:v>10573</c:v>
                </c:pt>
                <c:pt idx="159" formatCode="#,##0">
                  <c:v>10573</c:v>
                </c:pt>
                <c:pt idx="160" formatCode="#,##0">
                  <c:v>10573</c:v>
                </c:pt>
                <c:pt idx="161" formatCode="#,##0">
                  <c:v>10573</c:v>
                </c:pt>
                <c:pt idx="162" formatCode="#,##0">
                  <c:v>10573</c:v>
                </c:pt>
                <c:pt idx="163" formatCode="#,##0">
                  <c:v>10573</c:v>
                </c:pt>
                <c:pt idx="164" formatCode="#,##0">
                  <c:v>10573</c:v>
                </c:pt>
                <c:pt idx="165" formatCode="#,##0">
                  <c:v>10573</c:v>
                </c:pt>
                <c:pt idx="166" formatCode="#,##0">
                  <c:v>10573</c:v>
                </c:pt>
                <c:pt idx="167" formatCode="#,##0">
                  <c:v>10573</c:v>
                </c:pt>
                <c:pt idx="168" formatCode="#,##0">
                  <c:v>10573</c:v>
                </c:pt>
                <c:pt idx="169" formatCode="#,##0">
                  <c:v>10573</c:v>
                </c:pt>
                <c:pt idx="170" formatCode="#,##0">
                  <c:v>10573</c:v>
                </c:pt>
                <c:pt idx="171" formatCode="#,##0">
                  <c:v>10573</c:v>
                </c:pt>
                <c:pt idx="172" formatCode="#,##0">
                  <c:v>10573</c:v>
                </c:pt>
                <c:pt idx="173" formatCode="#,##0">
                  <c:v>10573</c:v>
                </c:pt>
                <c:pt idx="174" formatCode="#,##0">
                  <c:v>10573</c:v>
                </c:pt>
                <c:pt idx="175" formatCode="#,##0">
                  <c:v>10573</c:v>
                </c:pt>
                <c:pt idx="176" formatCode="#,##0">
                  <c:v>10573</c:v>
                </c:pt>
                <c:pt idx="177" formatCode="#,##0">
                  <c:v>10573</c:v>
                </c:pt>
                <c:pt idx="178" formatCode="#,##0">
                  <c:v>10573</c:v>
                </c:pt>
                <c:pt idx="179" formatCode="#,##0">
                  <c:v>10573</c:v>
                </c:pt>
                <c:pt idx="180" formatCode="#,##0">
                  <c:v>10573</c:v>
                </c:pt>
                <c:pt idx="181" formatCode="#,##0">
                  <c:v>10573</c:v>
                </c:pt>
                <c:pt idx="182" formatCode="#,##0">
                  <c:v>105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F267-42C6-AC42-927B0F02AEC7}"/>
            </c:ext>
          </c:extLst>
        </c:ser>
        <c:ser>
          <c:idx val="6"/>
          <c:order val="6"/>
          <c:tx>
            <c:strRef>
              <c:f>List1!$H$1</c:f>
              <c:strCache>
                <c:ptCount val="1"/>
                <c:pt idx="0">
                  <c:v>10 45-49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H$5:$H$187</c:f>
              <c:numCache>
                <c:formatCode>General</c:formatCode>
                <c:ptCount val="183"/>
                <c:pt idx="0">
                  <c:v>455</c:v>
                </c:pt>
                <c:pt idx="1">
                  <c:v>166</c:v>
                </c:pt>
                <c:pt idx="2">
                  <c:v>41</c:v>
                </c:pt>
                <c:pt idx="3">
                  <c:v>197</c:v>
                </c:pt>
                <c:pt idx="4">
                  <c:v>138</c:v>
                </c:pt>
                <c:pt idx="5">
                  <c:v>578</c:v>
                </c:pt>
                <c:pt idx="6">
                  <c:v>698</c:v>
                </c:pt>
                <c:pt idx="7">
                  <c:v>931</c:v>
                </c:pt>
                <c:pt idx="8">
                  <c:v>1154</c:v>
                </c:pt>
                <c:pt idx="9">
                  <c:v>1472</c:v>
                </c:pt>
                <c:pt idx="10">
                  <c:v>270</c:v>
                </c:pt>
                <c:pt idx="11">
                  <c:v>224</c:v>
                </c:pt>
                <c:pt idx="12">
                  <c:v>1432</c:v>
                </c:pt>
                <c:pt idx="13">
                  <c:v>1827</c:v>
                </c:pt>
                <c:pt idx="14">
                  <c:v>1698</c:v>
                </c:pt>
                <c:pt idx="15">
                  <c:v>1868</c:v>
                </c:pt>
                <c:pt idx="16">
                  <c:v>1592</c:v>
                </c:pt>
                <c:pt idx="17">
                  <c:v>210</c:v>
                </c:pt>
                <c:pt idx="18">
                  <c:v>102</c:v>
                </c:pt>
                <c:pt idx="19">
                  <c:v>1069</c:v>
                </c:pt>
                <c:pt idx="20">
                  <c:v>1025</c:v>
                </c:pt>
                <c:pt idx="21">
                  <c:v>982</c:v>
                </c:pt>
                <c:pt idx="22">
                  <c:v>980</c:v>
                </c:pt>
                <c:pt idx="23">
                  <c:v>854</c:v>
                </c:pt>
                <c:pt idx="24">
                  <c:v>90</c:v>
                </c:pt>
                <c:pt idx="25">
                  <c:v>48</c:v>
                </c:pt>
                <c:pt idx="26">
                  <c:v>467</c:v>
                </c:pt>
                <c:pt idx="27">
                  <c:v>512</c:v>
                </c:pt>
                <c:pt idx="28">
                  <c:v>484</c:v>
                </c:pt>
                <c:pt idx="29">
                  <c:v>353</c:v>
                </c:pt>
                <c:pt idx="30">
                  <c:v>355</c:v>
                </c:pt>
                <c:pt idx="31">
                  <c:v>16</c:v>
                </c:pt>
                <c:pt idx="32">
                  <c:v>15</c:v>
                </c:pt>
                <c:pt idx="33">
                  <c:v>172</c:v>
                </c:pt>
                <c:pt idx="34">
                  <c:v>224</c:v>
                </c:pt>
                <c:pt idx="35">
                  <c:v>248</c:v>
                </c:pt>
                <c:pt idx="36">
                  <c:v>208</c:v>
                </c:pt>
                <c:pt idx="37">
                  <c:v>264</c:v>
                </c:pt>
                <c:pt idx="38">
                  <c:v>8</c:v>
                </c:pt>
                <c:pt idx="39">
                  <c:v>8</c:v>
                </c:pt>
                <c:pt idx="40">
                  <c:v>175</c:v>
                </c:pt>
                <c:pt idx="41">
                  <c:v>279</c:v>
                </c:pt>
                <c:pt idx="42">
                  <c:v>365</c:v>
                </c:pt>
                <c:pt idx="43">
                  <c:v>408</c:v>
                </c:pt>
                <c:pt idx="44">
                  <c:v>372</c:v>
                </c:pt>
                <c:pt idx="45">
                  <c:v>69</c:v>
                </c:pt>
                <c:pt idx="46">
                  <c:v>27</c:v>
                </c:pt>
                <c:pt idx="47">
                  <c:v>330</c:v>
                </c:pt>
                <c:pt idx="48">
                  <c:v>341</c:v>
                </c:pt>
                <c:pt idx="49">
                  <c:v>428</c:v>
                </c:pt>
                <c:pt idx="50">
                  <c:v>558</c:v>
                </c:pt>
                <c:pt idx="51">
                  <c:v>598</c:v>
                </c:pt>
                <c:pt idx="52">
                  <c:v>97</c:v>
                </c:pt>
                <c:pt idx="53">
                  <c:v>55</c:v>
                </c:pt>
                <c:pt idx="54">
                  <c:v>428</c:v>
                </c:pt>
                <c:pt idx="55">
                  <c:v>647</c:v>
                </c:pt>
                <c:pt idx="56">
                  <c:v>692</c:v>
                </c:pt>
                <c:pt idx="57">
                  <c:v>943</c:v>
                </c:pt>
                <c:pt idx="58">
                  <c:v>830</c:v>
                </c:pt>
                <c:pt idx="59">
                  <c:v>131</c:v>
                </c:pt>
                <c:pt idx="60">
                  <c:v>130</c:v>
                </c:pt>
                <c:pt idx="61">
                  <c:v>1241</c:v>
                </c:pt>
                <c:pt idx="62">
                  <c:v>1676</c:v>
                </c:pt>
                <c:pt idx="63">
                  <c:v>1906</c:v>
                </c:pt>
                <c:pt idx="64">
                  <c:v>1753</c:v>
                </c:pt>
                <c:pt idx="65">
                  <c:v>1560</c:v>
                </c:pt>
                <c:pt idx="66">
                  <c:v>630</c:v>
                </c:pt>
                <c:pt idx="67">
                  <c:v>765</c:v>
                </c:pt>
                <c:pt idx="68">
                  <c:v>1496</c:v>
                </c:pt>
                <c:pt idx="69">
                  <c:v>2097</c:v>
                </c:pt>
                <c:pt idx="70">
                  <c:v>1560</c:v>
                </c:pt>
                <c:pt idx="71">
                  <c:v>1897</c:v>
                </c:pt>
                <c:pt idx="72">
                  <c:v>1825</c:v>
                </c:pt>
                <c:pt idx="73">
                  <c:v>900</c:v>
                </c:pt>
                <c:pt idx="74">
                  <c:v>534</c:v>
                </c:pt>
                <c:pt idx="75">
                  <c:v>1245</c:v>
                </c:pt>
                <c:pt idx="76">
                  <c:v>1920</c:v>
                </c:pt>
                <c:pt idx="77">
                  <c:v>1554</c:v>
                </c:pt>
                <c:pt idx="78">
                  <c:v>1490</c:v>
                </c:pt>
                <c:pt idx="79">
                  <c:v>1626</c:v>
                </c:pt>
                <c:pt idx="80">
                  <c:v>630</c:v>
                </c:pt>
                <c:pt idx="81">
                  <c:v>301</c:v>
                </c:pt>
                <c:pt idx="82">
                  <c:v>1143</c:v>
                </c:pt>
                <c:pt idx="83">
                  <c:v>1200</c:v>
                </c:pt>
                <c:pt idx="84">
                  <c:v>1164</c:v>
                </c:pt>
                <c:pt idx="85">
                  <c:v>1201</c:v>
                </c:pt>
                <c:pt idx="86">
                  <c:v>1435</c:v>
                </c:pt>
                <c:pt idx="87">
                  <c:v>288</c:v>
                </c:pt>
                <c:pt idx="88">
                  <c:v>399</c:v>
                </c:pt>
                <c:pt idx="89">
                  <c:v>943</c:v>
                </c:pt>
                <c:pt idx="90">
                  <c:v>1488</c:v>
                </c:pt>
                <c:pt idx="91">
                  <c:v>1185</c:v>
                </c:pt>
                <c:pt idx="92">
                  <c:v>1205</c:v>
                </c:pt>
                <c:pt idx="93">
                  <c:v>319</c:v>
                </c:pt>
                <c:pt idx="94">
                  <c:v>196</c:v>
                </c:pt>
                <c:pt idx="95">
                  <c:v>111</c:v>
                </c:pt>
                <c:pt idx="96">
                  <c:v>82</c:v>
                </c:pt>
                <c:pt idx="97">
                  <c:v>689</c:v>
                </c:pt>
                <c:pt idx="98">
                  <c:v>1163</c:v>
                </c:pt>
                <c:pt idx="99">
                  <c:v>1588</c:v>
                </c:pt>
                <c:pt idx="100">
                  <c:v>2151</c:v>
                </c:pt>
                <c:pt idx="101">
                  <c:v>902</c:v>
                </c:pt>
                <c:pt idx="102">
                  <c:v>496</c:v>
                </c:pt>
                <c:pt idx="103">
                  <c:v>1618</c:v>
                </c:pt>
                <c:pt idx="104">
                  <c:v>1689</c:v>
                </c:pt>
                <c:pt idx="105">
                  <c:v>1789</c:v>
                </c:pt>
                <c:pt idx="106">
                  <c:v>2151</c:v>
                </c:pt>
                <c:pt idx="107">
                  <c:v>3073</c:v>
                </c:pt>
                <c:pt idx="108">
                  <c:v>1124</c:v>
                </c:pt>
                <c:pt idx="109">
                  <c:v>868</c:v>
                </c:pt>
                <c:pt idx="110">
                  <c:v>2295</c:v>
                </c:pt>
                <c:pt idx="111">
                  <c:v>2142</c:v>
                </c:pt>
                <c:pt idx="112">
                  <c:v>2235</c:v>
                </c:pt>
                <c:pt idx="113">
                  <c:v>2331</c:v>
                </c:pt>
                <c:pt idx="114">
                  <c:v>2741</c:v>
                </c:pt>
                <c:pt idx="115">
                  <c:v>983</c:v>
                </c:pt>
                <c:pt idx="116">
                  <c:v>691</c:v>
                </c:pt>
                <c:pt idx="117">
                  <c:v>1649</c:v>
                </c:pt>
                <c:pt idx="118">
                  <c:v>1440</c:v>
                </c:pt>
                <c:pt idx="119">
                  <c:v>1838</c:v>
                </c:pt>
                <c:pt idx="120">
                  <c:v>1931</c:v>
                </c:pt>
                <c:pt idx="121">
                  <c:v>2481</c:v>
                </c:pt>
                <c:pt idx="122">
                  <c:v>621</c:v>
                </c:pt>
                <c:pt idx="123">
                  <c:v>593</c:v>
                </c:pt>
                <c:pt idx="124">
                  <c:v>2176</c:v>
                </c:pt>
                <c:pt idx="125">
                  <c:v>2393</c:v>
                </c:pt>
                <c:pt idx="126">
                  <c:v>2543</c:v>
                </c:pt>
                <c:pt idx="127">
                  <c:v>3155</c:v>
                </c:pt>
                <c:pt idx="128">
                  <c:v>3292</c:v>
                </c:pt>
                <c:pt idx="129">
                  <c:v>1158</c:v>
                </c:pt>
                <c:pt idx="130">
                  <c:v>806</c:v>
                </c:pt>
                <c:pt idx="131">
                  <c:v>2445</c:v>
                </c:pt>
                <c:pt idx="132">
                  <c:v>26628</c:v>
                </c:pt>
                <c:pt idx="133">
                  <c:v>26628</c:v>
                </c:pt>
                <c:pt idx="134">
                  <c:v>26628</c:v>
                </c:pt>
                <c:pt idx="135">
                  <c:v>26628</c:v>
                </c:pt>
                <c:pt idx="136">
                  <c:v>26628</c:v>
                </c:pt>
                <c:pt idx="137">
                  <c:v>26628</c:v>
                </c:pt>
                <c:pt idx="138">
                  <c:v>26628</c:v>
                </c:pt>
                <c:pt idx="139">
                  <c:v>26628</c:v>
                </c:pt>
                <c:pt idx="140">
                  <c:v>26628</c:v>
                </c:pt>
                <c:pt idx="141">
                  <c:v>26628</c:v>
                </c:pt>
                <c:pt idx="142">
                  <c:v>26628</c:v>
                </c:pt>
                <c:pt idx="143">
                  <c:v>26628</c:v>
                </c:pt>
                <c:pt idx="144">
                  <c:v>26628</c:v>
                </c:pt>
                <c:pt idx="145">
                  <c:v>26628</c:v>
                </c:pt>
                <c:pt idx="146">
                  <c:v>26628</c:v>
                </c:pt>
                <c:pt idx="147">
                  <c:v>26628</c:v>
                </c:pt>
                <c:pt idx="148">
                  <c:v>26628</c:v>
                </c:pt>
                <c:pt idx="149">
                  <c:v>26628</c:v>
                </c:pt>
                <c:pt idx="150">
                  <c:v>26628</c:v>
                </c:pt>
                <c:pt idx="151">
                  <c:v>0</c:v>
                </c:pt>
                <c:pt idx="152">
                  <c:v>0</c:v>
                </c:pt>
                <c:pt idx="153" formatCode="#,##0">
                  <c:v>0</c:v>
                </c:pt>
                <c:pt idx="154" formatCode="#,##0">
                  <c:v>0</c:v>
                </c:pt>
                <c:pt idx="155" formatCode="#,##0">
                  <c:v>0</c:v>
                </c:pt>
                <c:pt idx="156" formatCode="#,##0">
                  <c:v>0</c:v>
                </c:pt>
                <c:pt idx="157" formatCode="#,##0">
                  <c:v>0</c:v>
                </c:pt>
                <c:pt idx="158" formatCode="#,##0">
                  <c:v>0</c:v>
                </c:pt>
                <c:pt idx="159" formatCode="#,##0">
                  <c:v>0</c:v>
                </c:pt>
                <c:pt idx="160" formatCode="#,##0">
                  <c:v>0</c:v>
                </c:pt>
                <c:pt idx="161" formatCode="#,##0">
                  <c:v>0</c:v>
                </c:pt>
                <c:pt idx="162" formatCode="#,##0">
                  <c:v>0</c:v>
                </c:pt>
                <c:pt idx="163" formatCode="#,##0">
                  <c:v>0</c:v>
                </c:pt>
                <c:pt idx="164" formatCode="#,##0">
                  <c:v>0</c:v>
                </c:pt>
                <c:pt idx="165" formatCode="#,##0">
                  <c:v>0</c:v>
                </c:pt>
                <c:pt idx="166" formatCode="#,##0">
                  <c:v>0</c:v>
                </c:pt>
                <c:pt idx="167" formatCode="#,##0">
                  <c:v>0</c:v>
                </c:pt>
                <c:pt idx="168" formatCode="#,##0">
                  <c:v>0</c:v>
                </c:pt>
                <c:pt idx="169" formatCode="#,##0">
                  <c:v>0</c:v>
                </c:pt>
                <c:pt idx="170" formatCode="#,##0">
                  <c:v>0</c:v>
                </c:pt>
                <c:pt idx="171" formatCode="#,##0">
                  <c:v>0</c:v>
                </c:pt>
                <c:pt idx="172" formatCode="#,##0">
                  <c:v>0</c:v>
                </c:pt>
                <c:pt idx="173" formatCode="#,##0">
                  <c:v>0</c:v>
                </c:pt>
                <c:pt idx="174" formatCode="#,##0">
                  <c:v>0</c:v>
                </c:pt>
                <c:pt idx="175" formatCode="#,##0">
                  <c:v>0</c:v>
                </c:pt>
                <c:pt idx="176" formatCode="#,##0">
                  <c:v>0</c:v>
                </c:pt>
                <c:pt idx="177" formatCode="#,##0">
                  <c:v>0</c:v>
                </c:pt>
                <c:pt idx="178" formatCode="#,##0">
                  <c:v>0</c:v>
                </c:pt>
                <c:pt idx="179" formatCode="#,##0">
                  <c:v>0</c:v>
                </c:pt>
                <c:pt idx="180" formatCode="#,##0">
                  <c:v>0</c:v>
                </c:pt>
                <c:pt idx="181" formatCode="#,##0">
                  <c:v>0</c:v>
                </c:pt>
                <c:pt idx="182" formatCode="#,##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F267-42C6-AC42-927B0F02AEC7}"/>
            </c:ext>
          </c:extLst>
        </c:ser>
        <c:ser>
          <c:idx val="7"/>
          <c:order val="7"/>
          <c:tx>
            <c:strRef>
              <c:f>List1!$I$1</c:f>
              <c:strCache>
                <c:ptCount val="1"/>
                <c:pt idx="0">
                  <c:v>11 50-54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I$5:$I$187</c:f>
              <c:numCache>
                <c:formatCode>General</c:formatCode>
                <c:ptCount val="183"/>
                <c:pt idx="0">
                  <c:v>366</c:v>
                </c:pt>
                <c:pt idx="1">
                  <c:v>120</c:v>
                </c:pt>
                <c:pt idx="2">
                  <c:v>33</c:v>
                </c:pt>
                <c:pt idx="3">
                  <c:v>144</c:v>
                </c:pt>
                <c:pt idx="4">
                  <c:v>111</c:v>
                </c:pt>
                <c:pt idx="5">
                  <c:v>412</c:v>
                </c:pt>
                <c:pt idx="6">
                  <c:v>565</c:v>
                </c:pt>
                <c:pt idx="7">
                  <c:v>716</c:v>
                </c:pt>
                <c:pt idx="8">
                  <c:v>922</c:v>
                </c:pt>
                <c:pt idx="9">
                  <c:v>1116</c:v>
                </c:pt>
                <c:pt idx="10">
                  <c:v>193</c:v>
                </c:pt>
                <c:pt idx="11">
                  <c:v>187</c:v>
                </c:pt>
                <c:pt idx="12">
                  <c:v>1063</c:v>
                </c:pt>
                <c:pt idx="13">
                  <c:v>1316</c:v>
                </c:pt>
                <c:pt idx="14">
                  <c:v>1430</c:v>
                </c:pt>
                <c:pt idx="15">
                  <c:v>1505</c:v>
                </c:pt>
                <c:pt idx="16">
                  <c:v>1445</c:v>
                </c:pt>
                <c:pt idx="17">
                  <c:v>211</c:v>
                </c:pt>
                <c:pt idx="18">
                  <c:v>87</c:v>
                </c:pt>
                <c:pt idx="19">
                  <c:v>908</c:v>
                </c:pt>
                <c:pt idx="20">
                  <c:v>872</c:v>
                </c:pt>
                <c:pt idx="21">
                  <c:v>909</c:v>
                </c:pt>
                <c:pt idx="22">
                  <c:v>913</c:v>
                </c:pt>
                <c:pt idx="23">
                  <c:v>687</c:v>
                </c:pt>
                <c:pt idx="24">
                  <c:v>97</c:v>
                </c:pt>
                <c:pt idx="25">
                  <c:v>41</c:v>
                </c:pt>
                <c:pt idx="26">
                  <c:v>382</c:v>
                </c:pt>
                <c:pt idx="27">
                  <c:v>501</c:v>
                </c:pt>
                <c:pt idx="28">
                  <c:v>405</c:v>
                </c:pt>
                <c:pt idx="29">
                  <c:v>276</c:v>
                </c:pt>
                <c:pt idx="30">
                  <c:v>286</c:v>
                </c:pt>
                <c:pt idx="31">
                  <c:v>15</c:v>
                </c:pt>
                <c:pt idx="32">
                  <c:v>11</c:v>
                </c:pt>
                <c:pt idx="33">
                  <c:v>165</c:v>
                </c:pt>
                <c:pt idx="34">
                  <c:v>178</c:v>
                </c:pt>
                <c:pt idx="35">
                  <c:v>209</c:v>
                </c:pt>
                <c:pt idx="36">
                  <c:v>180</c:v>
                </c:pt>
                <c:pt idx="37">
                  <c:v>199</c:v>
                </c:pt>
                <c:pt idx="38">
                  <c:v>9</c:v>
                </c:pt>
                <c:pt idx="39">
                  <c:v>10</c:v>
                </c:pt>
                <c:pt idx="40">
                  <c:v>134</c:v>
                </c:pt>
                <c:pt idx="41">
                  <c:v>204</c:v>
                </c:pt>
                <c:pt idx="42">
                  <c:v>285</c:v>
                </c:pt>
                <c:pt idx="43">
                  <c:v>319</c:v>
                </c:pt>
                <c:pt idx="44">
                  <c:v>338</c:v>
                </c:pt>
                <c:pt idx="45">
                  <c:v>66</c:v>
                </c:pt>
                <c:pt idx="46">
                  <c:v>56</c:v>
                </c:pt>
                <c:pt idx="47">
                  <c:v>255</c:v>
                </c:pt>
                <c:pt idx="48">
                  <c:v>289</c:v>
                </c:pt>
                <c:pt idx="49">
                  <c:v>434</c:v>
                </c:pt>
                <c:pt idx="50">
                  <c:v>485</c:v>
                </c:pt>
                <c:pt idx="51">
                  <c:v>532</c:v>
                </c:pt>
                <c:pt idx="52">
                  <c:v>72</c:v>
                </c:pt>
                <c:pt idx="53">
                  <c:v>25</c:v>
                </c:pt>
                <c:pt idx="54">
                  <c:v>402</c:v>
                </c:pt>
                <c:pt idx="55">
                  <c:v>577</c:v>
                </c:pt>
                <c:pt idx="56">
                  <c:v>661</c:v>
                </c:pt>
                <c:pt idx="57">
                  <c:v>824</c:v>
                </c:pt>
                <c:pt idx="58">
                  <c:v>746</c:v>
                </c:pt>
                <c:pt idx="59">
                  <c:v>98</c:v>
                </c:pt>
                <c:pt idx="60">
                  <c:v>154</c:v>
                </c:pt>
                <c:pt idx="61">
                  <c:v>1060</c:v>
                </c:pt>
                <c:pt idx="62">
                  <c:v>1625</c:v>
                </c:pt>
                <c:pt idx="63">
                  <c:v>1696</c:v>
                </c:pt>
                <c:pt idx="64">
                  <c:v>1520</c:v>
                </c:pt>
                <c:pt idx="65">
                  <c:v>1451</c:v>
                </c:pt>
                <c:pt idx="66">
                  <c:v>742</c:v>
                </c:pt>
                <c:pt idx="67">
                  <c:v>736</c:v>
                </c:pt>
                <c:pt idx="68">
                  <c:v>1446</c:v>
                </c:pt>
                <c:pt idx="69">
                  <c:v>2065</c:v>
                </c:pt>
                <c:pt idx="70">
                  <c:v>1509</c:v>
                </c:pt>
                <c:pt idx="71">
                  <c:v>1705</c:v>
                </c:pt>
                <c:pt idx="72">
                  <c:v>1540</c:v>
                </c:pt>
                <c:pt idx="73">
                  <c:v>740</c:v>
                </c:pt>
                <c:pt idx="74">
                  <c:v>532</c:v>
                </c:pt>
                <c:pt idx="75">
                  <c:v>994</c:v>
                </c:pt>
                <c:pt idx="76">
                  <c:v>1900</c:v>
                </c:pt>
                <c:pt idx="77">
                  <c:v>1544</c:v>
                </c:pt>
                <c:pt idx="78">
                  <c:v>1585</c:v>
                </c:pt>
                <c:pt idx="79">
                  <c:v>1657</c:v>
                </c:pt>
                <c:pt idx="80">
                  <c:v>942</c:v>
                </c:pt>
                <c:pt idx="81">
                  <c:v>377</c:v>
                </c:pt>
                <c:pt idx="82">
                  <c:v>1086</c:v>
                </c:pt>
                <c:pt idx="83">
                  <c:v>1115</c:v>
                </c:pt>
                <c:pt idx="84">
                  <c:v>1043</c:v>
                </c:pt>
                <c:pt idx="85">
                  <c:v>990</c:v>
                </c:pt>
                <c:pt idx="86">
                  <c:v>1200</c:v>
                </c:pt>
                <c:pt idx="87">
                  <c:v>295</c:v>
                </c:pt>
                <c:pt idx="88">
                  <c:v>235</c:v>
                </c:pt>
                <c:pt idx="89">
                  <c:v>712</c:v>
                </c:pt>
                <c:pt idx="90">
                  <c:v>1107</c:v>
                </c:pt>
                <c:pt idx="91">
                  <c:v>958</c:v>
                </c:pt>
                <c:pt idx="92">
                  <c:v>1083</c:v>
                </c:pt>
                <c:pt idx="93">
                  <c:v>369</c:v>
                </c:pt>
                <c:pt idx="94">
                  <c:v>183</c:v>
                </c:pt>
                <c:pt idx="95">
                  <c:v>148</c:v>
                </c:pt>
                <c:pt idx="96">
                  <c:v>153</c:v>
                </c:pt>
                <c:pt idx="97">
                  <c:v>762</c:v>
                </c:pt>
                <c:pt idx="98">
                  <c:v>1156</c:v>
                </c:pt>
                <c:pt idx="99">
                  <c:v>1450</c:v>
                </c:pt>
                <c:pt idx="100">
                  <c:v>1723</c:v>
                </c:pt>
                <c:pt idx="101">
                  <c:v>665</c:v>
                </c:pt>
                <c:pt idx="102">
                  <c:v>340</c:v>
                </c:pt>
                <c:pt idx="103">
                  <c:v>1471</c:v>
                </c:pt>
                <c:pt idx="104">
                  <c:v>1605</c:v>
                </c:pt>
                <c:pt idx="105">
                  <c:v>1644</c:v>
                </c:pt>
                <c:pt idx="106">
                  <c:v>1966</c:v>
                </c:pt>
                <c:pt idx="107">
                  <c:v>2438</c:v>
                </c:pt>
                <c:pt idx="108">
                  <c:v>1087</c:v>
                </c:pt>
                <c:pt idx="109">
                  <c:v>667</c:v>
                </c:pt>
                <c:pt idx="110">
                  <c:v>2261</c:v>
                </c:pt>
                <c:pt idx="111">
                  <c:v>1939</c:v>
                </c:pt>
                <c:pt idx="112">
                  <c:v>2078</c:v>
                </c:pt>
                <c:pt idx="113">
                  <c:v>2264</c:v>
                </c:pt>
                <c:pt idx="114">
                  <c:v>2693</c:v>
                </c:pt>
                <c:pt idx="115">
                  <c:v>715</c:v>
                </c:pt>
                <c:pt idx="116">
                  <c:v>522</c:v>
                </c:pt>
                <c:pt idx="117">
                  <c:v>1420</c:v>
                </c:pt>
                <c:pt idx="118">
                  <c:v>1331</c:v>
                </c:pt>
                <c:pt idx="119">
                  <c:v>1754</c:v>
                </c:pt>
                <c:pt idx="120">
                  <c:v>1805</c:v>
                </c:pt>
                <c:pt idx="121">
                  <c:v>2181</c:v>
                </c:pt>
                <c:pt idx="122">
                  <c:v>603</c:v>
                </c:pt>
                <c:pt idx="123">
                  <c:v>528</c:v>
                </c:pt>
                <c:pt idx="124">
                  <c:v>2003</c:v>
                </c:pt>
                <c:pt idx="125">
                  <c:v>2282</c:v>
                </c:pt>
                <c:pt idx="126">
                  <c:v>3363</c:v>
                </c:pt>
                <c:pt idx="127">
                  <c:v>9281</c:v>
                </c:pt>
                <c:pt idx="128">
                  <c:v>11577</c:v>
                </c:pt>
                <c:pt idx="129">
                  <c:v>7391</c:v>
                </c:pt>
                <c:pt idx="130">
                  <c:v>6397</c:v>
                </c:pt>
                <c:pt idx="131">
                  <c:v>21703</c:v>
                </c:pt>
                <c:pt idx="132">
                  <c:v>23411</c:v>
                </c:pt>
                <c:pt idx="133">
                  <c:v>23411</c:v>
                </c:pt>
                <c:pt idx="134">
                  <c:v>23411</c:v>
                </c:pt>
                <c:pt idx="135">
                  <c:v>23411</c:v>
                </c:pt>
                <c:pt idx="136">
                  <c:v>23411</c:v>
                </c:pt>
                <c:pt idx="137">
                  <c:v>23411</c:v>
                </c:pt>
                <c:pt idx="138">
                  <c:v>23411</c:v>
                </c:pt>
                <c:pt idx="139">
                  <c:v>23411</c:v>
                </c:pt>
                <c:pt idx="140">
                  <c:v>23411</c:v>
                </c:pt>
                <c:pt idx="141">
                  <c:v>23411</c:v>
                </c:pt>
                <c:pt idx="142">
                  <c:v>23411</c:v>
                </c:pt>
                <c:pt idx="143">
                  <c:v>23411</c:v>
                </c:pt>
                <c:pt idx="144">
                  <c:v>23411</c:v>
                </c:pt>
                <c:pt idx="145">
                  <c:v>23411</c:v>
                </c:pt>
                <c:pt idx="146">
                  <c:v>23411</c:v>
                </c:pt>
                <c:pt idx="147">
                  <c:v>23411</c:v>
                </c:pt>
                <c:pt idx="148">
                  <c:v>23411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F267-42C6-AC42-927B0F02AEC7}"/>
            </c:ext>
          </c:extLst>
        </c:ser>
        <c:ser>
          <c:idx val="8"/>
          <c:order val="8"/>
          <c:tx>
            <c:strRef>
              <c:f>List1!$J$1</c:f>
              <c:strCache>
                <c:ptCount val="1"/>
                <c:pt idx="0">
                  <c:v>12 55-59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J$5:$J$187</c:f>
              <c:numCache>
                <c:formatCode>General</c:formatCode>
                <c:ptCount val="183"/>
                <c:pt idx="0">
                  <c:v>373</c:v>
                </c:pt>
                <c:pt idx="1">
                  <c:v>113</c:v>
                </c:pt>
                <c:pt idx="2">
                  <c:v>30</c:v>
                </c:pt>
                <c:pt idx="3">
                  <c:v>127</c:v>
                </c:pt>
                <c:pt idx="4">
                  <c:v>100</c:v>
                </c:pt>
                <c:pt idx="5">
                  <c:v>422</c:v>
                </c:pt>
                <c:pt idx="6">
                  <c:v>521</c:v>
                </c:pt>
                <c:pt idx="7">
                  <c:v>652</c:v>
                </c:pt>
                <c:pt idx="8">
                  <c:v>837</c:v>
                </c:pt>
                <c:pt idx="9">
                  <c:v>1011</c:v>
                </c:pt>
                <c:pt idx="10">
                  <c:v>214</c:v>
                </c:pt>
                <c:pt idx="11">
                  <c:v>186</c:v>
                </c:pt>
                <c:pt idx="12">
                  <c:v>1038</c:v>
                </c:pt>
                <c:pt idx="13">
                  <c:v>1265</c:v>
                </c:pt>
                <c:pt idx="14">
                  <c:v>1342</c:v>
                </c:pt>
                <c:pt idx="15">
                  <c:v>1488</c:v>
                </c:pt>
                <c:pt idx="16">
                  <c:v>1378</c:v>
                </c:pt>
                <c:pt idx="17">
                  <c:v>189</c:v>
                </c:pt>
                <c:pt idx="18">
                  <c:v>86</c:v>
                </c:pt>
                <c:pt idx="19">
                  <c:v>886</c:v>
                </c:pt>
                <c:pt idx="20">
                  <c:v>895</c:v>
                </c:pt>
                <c:pt idx="21">
                  <c:v>888</c:v>
                </c:pt>
                <c:pt idx="22">
                  <c:v>896</c:v>
                </c:pt>
                <c:pt idx="23">
                  <c:v>737</c:v>
                </c:pt>
                <c:pt idx="24">
                  <c:v>99</c:v>
                </c:pt>
                <c:pt idx="25">
                  <c:v>40</c:v>
                </c:pt>
                <c:pt idx="26">
                  <c:v>397</c:v>
                </c:pt>
                <c:pt idx="27">
                  <c:v>517</c:v>
                </c:pt>
                <c:pt idx="28">
                  <c:v>433</c:v>
                </c:pt>
                <c:pt idx="29">
                  <c:v>287</c:v>
                </c:pt>
                <c:pt idx="30">
                  <c:v>295</c:v>
                </c:pt>
                <c:pt idx="31">
                  <c:v>22</c:v>
                </c:pt>
                <c:pt idx="32">
                  <c:v>14</c:v>
                </c:pt>
                <c:pt idx="33">
                  <c:v>142</c:v>
                </c:pt>
                <c:pt idx="34">
                  <c:v>176</c:v>
                </c:pt>
                <c:pt idx="35">
                  <c:v>188</c:v>
                </c:pt>
                <c:pt idx="36">
                  <c:v>167</c:v>
                </c:pt>
                <c:pt idx="37">
                  <c:v>228</c:v>
                </c:pt>
                <c:pt idx="38">
                  <c:v>16</c:v>
                </c:pt>
                <c:pt idx="39">
                  <c:v>13</c:v>
                </c:pt>
                <c:pt idx="40">
                  <c:v>150</c:v>
                </c:pt>
                <c:pt idx="41">
                  <c:v>252</c:v>
                </c:pt>
                <c:pt idx="42">
                  <c:v>295</c:v>
                </c:pt>
                <c:pt idx="43">
                  <c:v>281</c:v>
                </c:pt>
                <c:pt idx="44">
                  <c:v>349</c:v>
                </c:pt>
                <c:pt idx="45">
                  <c:v>69</c:v>
                </c:pt>
                <c:pt idx="46">
                  <c:v>54</c:v>
                </c:pt>
                <c:pt idx="47">
                  <c:v>246</c:v>
                </c:pt>
                <c:pt idx="48">
                  <c:v>284</c:v>
                </c:pt>
                <c:pt idx="49">
                  <c:v>398</c:v>
                </c:pt>
                <c:pt idx="50">
                  <c:v>492</c:v>
                </c:pt>
                <c:pt idx="51">
                  <c:v>508</c:v>
                </c:pt>
                <c:pt idx="52">
                  <c:v>78</c:v>
                </c:pt>
                <c:pt idx="53">
                  <c:v>24</c:v>
                </c:pt>
                <c:pt idx="54">
                  <c:v>415</c:v>
                </c:pt>
                <c:pt idx="55">
                  <c:v>487</c:v>
                </c:pt>
                <c:pt idx="56">
                  <c:v>695</c:v>
                </c:pt>
                <c:pt idx="57">
                  <c:v>823</c:v>
                </c:pt>
                <c:pt idx="58">
                  <c:v>775</c:v>
                </c:pt>
                <c:pt idx="59">
                  <c:v>98</c:v>
                </c:pt>
                <c:pt idx="60">
                  <c:v>198</c:v>
                </c:pt>
                <c:pt idx="61">
                  <c:v>1539</c:v>
                </c:pt>
                <c:pt idx="62">
                  <c:v>2987</c:v>
                </c:pt>
                <c:pt idx="63">
                  <c:v>2427</c:v>
                </c:pt>
                <c:pt idx="64">
                  <c:v>2266</c:v>
                </c:pt>
                <c:pt idx="65">
                  <c:v>1970</c:v>
                </c:pt>
                <c:pt idx="66">
                  <c:v>1100</c:v>
                </c:pt>
                <c:pt idx="67">
                  <c:v>879</c:v>
                </c:pt>
                <c:pt idx="68">
                  <c:v>2063</c:v>
                </c:pt>
                <c:pt idx="69">
                  <c:v>2200</c:v>
                </c:pt>
                <c:pt idx="70">
                  <c:v>2274</c:v>
                </c:pt>
                <c:pt idx="71">
                  <c:v>2205</c:v>
                </c:pt>
                <c:pt idx="72">
                  <c:v>1817</c:v>
                </c:pt>
                <c:pt idx="73">
                  <c:v>910</c:v>
                </c:pt>
                <c:pt idx="74">
                  <c:v>560</c:v>
                </c:pt>
                <c:pt idx="75">
                  <c:v>1236</c:v>
                </c:pt>
                <c:pt idx="76">
                  <c:v>2001</c:v>
                </c:pt>
                <c:pt idx="77">
                  <c:v>1807</c:v>
                </c:pt>
                <c:pt idx="78">
                  <c:v>1711</c:v>
                </c:pt>
                <c:pt idx="79">
                  <c:v>1893</c:v>
                </c:pt>
                <c:pt idx="80">
                  <c:v>792</c:v>
                </c:pt>
                <c:pt idx="81">
                  <c:v>298</c:v>
                </c:pt>
                <c:pt idx="82">
                  <c:v>1099</c:v>
                </c:pt>
                <c:pt idx="83">
                  <c:v>1257</c:v>
                </c:pt>
                <c:pt idx="84">
                  <c:v>1088</c:v>
                </c:pt>
                <c:pt idx="85">
                  <c:v>975</c:v>
                </c:pt>
                <c:pt idx="86">
                  <c:v>1212</c:v>
                </c:pt>
                <c:pt idx="87">
                  <c:v>367</c:v>
                </c:pt>
                <c:pt idx="88">
                  <c:v>376</c:v>
                </c:pt>
                <c:pt idx="89">
                  <c:v>939</c:v>
                </c:pt>
                <c:pt idx="90">
                  <c:v>1237</c:v>
                </c:pt>
                <c:pt idx="91">
                  <c:v>1218</c:v>
                </c:pt>
                <c:pt idx="92">
                  <c:v>1320</c:v>
                </c:pt>
                <c:pt idx="93">
                  <c:v>380</c:v>
                </c:pt>
                <c:pt idx="94">
                  <c:v>184</c:v>
                </c:pt>
                <c:pt idx="95">
                  <c:v>144</c:v>
                </c:pt>
                <c:pt idx="96">
                  <c:v>113</c:v>
                </c:pt>
                <c:pt idx="97">
                  <c:v>782</c:v>
                </c:pt>
                <c:pt idx="98">
                  <c:v>1110</c:v>
                </c:pt>
                <c:pt idx="99">
                  <c:v>1640</c:v>
                </c:pt>
                <c:pt idx="100">
                  <c:v>1955</c:v>
                </c:pt>
                <c:pt idx="101">
                  <c:v>869</c:v>
                </c:pt>
                <c:pt idx="102">
                  <c:v>417</c:v>
                </c:pt>
                <c:pt idx="103">
                  <c:v>1831</c:v>
                </c:pt>
                <c:pt idx="104">
                  <c:v>1792</c:v>
                </c:pt>
                <c:pt idx="105">
                  <c:v>1759</c:v>
                </c:pt>
                <c:pt idx="106">
                  <c:v>2434</c:v>
                </c:pt>
                <c:pt idx="107">
                  <c:v>2664</c:v>
                </c:pt>
                <c:pt idx="108">
                  <c:v>1124</c:v>
                </c:pt>
                <c:pt idx="109">
                  <c:v>744</c:v>
                </c:pt>
                <c:pt idx="110">
                  <c:v>2319</c:v>
                </c:pt>
                <c:pt idx="111">
                  <c:v>2290</c:v>
                </c:pt>
                <c:pt idx="112">
                  <c:v>2485</c:v>
                </c:pt>
                <c:pt idx="113">
                  <c:v>2728</c:v>
                </c:pt>
                <c:pt idx="114">
                  <c:v>2976</c:v>
                </c:pt>
                <c:pt idx="115">
                  <c:v>737</c:v>
                </c:pt>
                <c:pt idx="116">
                  <c:v>497</c:v>
                </c:pt>
                <c:pt idx="117">
                  <c:v>1835</c:v>
                </c:pt>
                <c:pt idx="118">
                  <c:v>1752</c:v>
                </c:pt>
                <c:pt idx="119">
                  <c:v>2397</c:v>
                </c:pt>
                <c:pt idx="120">
                  <c:v>5681</c:v>
                </c:pt>
                <c:pt idx="121">
                  <c:v>7636</c:v>
                </c:pt>
                <c:pt idx="122">
                  <c:v>4166</c:v>
                </c:pt>
                <c:pt idx="123">
                  <c:v>4153</c:v>
                </c:pt>
                <c:pt idx="124">
                  <c:v>17431</c:v>
                </c:pt>
                <c:pt idx="125">
                  <c:v>19341</c:v>
                </c:pt>
                <c:pt idx="126">
                  <c:v>21550</c:v>
                </c:pt>
                <c:pt idx="127">
                  <c:v>22249</c:v>
                </c:pt>
                <c:pt idx="128">
                  <c:v>21448</c:v>
                </c:pt>
                <c:pt idx="129">
                  <c:v>7358</c:v>
                </c:pt>
                <c:pt idx="130">
                  <c:v>6429</c:v>
                </c:pt>
                <c:pt idx="131">
                  <c:v>14791</c:v>
                </c:pt>
                <c:pt idx="132">
                  <c:v>21254</c:v>
                </c:pt>
                <c:pt idx="133">
                  <c:v>21254</c:v>
                </c:pt>
                <c:pt idx="134">
                  <c:v>21254</c:v>
                </c:pt>
                <c:pt idx="135">
                  <c:v>21254</c:v>
                </c:pt>
                <c:pt idx="136">
                  <c:v>21254</c:v>
                </c:pt>
                <c:pt idx="137">
                  <c:v>21254</c:v>
                </c:pt>
                <c:pt idx="138">
                  <c:v>21254</c:v>
                </c:pt>
                <c:pt idx="139">
                  <c:v>21254</c:v>
                </c:pt>
                <c:pt idx="140">
                  <c:v>21254</c:v>
                </c:pt>
                <c:pt idx="141">
                  <c:v>21254</c:v>
                </c:pt>
                <c:pt idx="142">
                  <c:v>21254</c:v>
                </c:pt>
                <c:pt idx="143">
                  <c:v>21254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F267-42C6-AC42-927B0F02AEC7}"/>
            </c:ext>
          </c:extLst>
        </c:ser>
        <c:ser>
          <c:idx val="9"/>
          <c:order val="9"/>
          <c:tx>
            <c:strRef>
              <c:f>List1!$K$1</c:f>
              <c:strCache>
                <c:ptCount val="1"/>
                <c:pt idx="0">
                  <c:v>13 60-64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K$5:$K$187</c:f>
              <c:numCache>
                <c:formatCode>General</c:formatCode>
                <c:ptCount val="183"/>
                <c:pt idx="0">
                  <c:v>295</c:v>
                </c:pt>
                <c:pt idx="1">
                  <c:v>87</c:v>
                </c:pt>
                <c:pt idx="2">
                  <c:v>23</c:v>
                </c:pt>
                <c:pt idx="3">
                  <c:v>107</c:v>
                </c:pt>
                <c:pt idx="4">
                  <c:v>63</c:v>
                </c:pt>
                <c:pt idx="5">
                  <c:v>290</c:v>
                </c:pt>
                <c:pt idx="6">
                  <c:v>338</c:v>
                </c:pt>
                <c:pt idx="7">
                  <c:v>462</c:v>
                </c:pt>
                <c:pt idx="8">
                  <c:v>668</c:v>
                </c:pt>
                <c:pt idx="9">
                  <c:v>750</c:v>
                </c:pt>
                <c:pt idx="10">
                  <c:v>180</c:v>
                </c:pt>
                <c:pt idx="11">
                  <c:v>142</c:v>
                </c:pt>
                <c:pt idx="12">
                  <c:v>792</c:v>
                </c:pt>
                <c:pt idx="13">
                  <c:v>1020</c:v>
                </c:pt>
                <c:pt idx="14">
                  <c:v>971</c:v>
                </c:pt>
                <c:pt idx="15">
                  <c:v>1125</c:v>
                </c:pt>
                <c:pt idx="16">
                  <c:v>1115</c:v>
                </c:pt>
                <c:pt idx="17">
                  <c:v>182</c:v>
                </c:pt>
                <c:pt idx="18">
                  <c:v>85</c:v>
                </c:pt>
                <c:pt idx="19">
                  <c:v>757</c:v>
                </c:pt>
                <c:pt idx="20">
                  <c:v>718</c:v>
                </c:pt>
                <c:pt idx="21">
                  <c:v>742</c:v>
                </c:pt>
                <c:pt idx="22">
                  <c:v>643</c:v>
                </c:pt>
                <c:pt idx="23">
                  <c:v>500</c:v>
                </c:pt>
                <c:pt idx="24">
                  <c:v>76</c:v>
                </c:pt>
                <c:pt idx="25">
                  <c:v>39</c:v>
                </c:pt>
                <c:pt idx="26">
                  <c:v>332</c:v>
                </c:pt>
                <c:pt idx="27">
                  <c:v>407</c:v>
                </c:pt>
                <c:pt idx="28">
                  <c:v>301</c:v>
                </c:pt>
                <c:pt idx="29">
                  <c:v>262</c:v>
                </c:pt>
                <c:pt idx="30">
                  <c:v>221</c:v>
                </c:pt>
                <c:pt idx="31">
                  <c:v>18</c:v>
                </c:pt>
                <c:pt idx="32">
                  <c:v>14</c:v>
                </c:pt>
                <c:pt idx="33">
                  <c:v>125</c:v>
                </c:pt>
                <c:pt idx="34">
                  <c:v>145</c:v>
                </c:pt>
                <c:pt idx="35">
                  <c:v>169</c:v>
                </c:pt>
                <c:pt idx="36">
                  <c:v>136</c:v>
                </c:pt>
                <c:pt idx="37">
                  <c:v>220</c:v>
                </c:pt>
                <c:pt idx="38">
                  <c:v>14</c:v>
                </c:pt>
                <c:pt idx="39">
                  <c:v>12</c:v>
                </c:pt>
                <c:pt idx="40">
                  <c:v>110</c:v>
                </c:pt>
                <c:pt idx="41">
                  <c:v>156</c:v>
                </c:pt>
                <c:pt idx="42">
                  <c:v>192</c:v>
                </c:pt>
                <c:pt idx="43">
                  <c:v>267</c:v>
                </c:pt>
                <c:pt idx="44">
                  <c:v>253</c:v>
                </c:pt>
                <c:pt idx="45">
                  <c:v>54</c:v>
                </c:pt>
                <c:pt idx="46">
                  <c:v>33</c:v>
                </c:pt>
                <c:pt idx="47">
                  <c:v>194</c:v>
                </c:pt>
                <c:pt idx="48">
                  <c:v>243</c:v>
                </c:pt>
                <c:pt idx="49">
                  <c:v>324</c:v>
                </c:pt>
                <c:pt idx="50">
                  <c:v>464</c:v>
                </c:pt>
                <c:pt idx="51">
                  <c:v>379</c:v>
                </c:pt>
                <c:pt idx="52">
                  <c:v>66</c:v>
                </c:pt>
                <c:pt idx="53">
                  <c:v>28</c:v>
                </c:pt>
                <c:pt idx="54">
                  <c:v>327</c:v>
                </c:pt>
                <c:pt idx="55">
                  <c:v>379</c:v>
                </c:pt>
                <c:pt idx="56">
                  <c:v>622</c:v>
                </c:pt>
                <c:pt idx="57">
                  <c:v>664</c:v>
                </c:pt>
                <c:pt idx="58">
                  <c:v>647</c:v>
                </c:pt>
                <c:pt idx="59">
                  <c:v>79</c:v>
                </c:pt>
                <c:pt idx="60">
                  <c:v>112</c:v>
                </c:pt>
                <c:pt idx="61">
                  <c:v>1335</c:v>
                </c:pt>
                <c:pt idx="62">
                  <c:v>2520</c:v>
                </c:pt>
                <c:pt idx="63">
                  <c:v>2152</c:v>
                </c:pt>
                <c:pt idx="64">
                  <c:v>2366</c:v>
                </c:pt>
                <c:pt idx="65">
                  <c:v>1671</c:v>
                </c:pt>
                <c:pt idx="66">
                  <c:v>807</c:v>
                </c:pt>
                <c:pt idx="67">
                  <c:v>649</c:v>
                </c:pt>
                <c:pt idx="68">
                  <c:v>1693</c:v>
                </c:pt>
                <c:pt idx="69">
                  <c:v>1898</c:v>
                </c:pt>
                <c:pt idx="70">
                  <c:v>1648</c:v>
                </c:pt>
                <c:pt idx="71">
                  <c:v>1703</c:v>
                </c:pt>
                <c:pt idx="72">
                  <c:v>1318</c:v>
                </c:pt>
                <c:pt idx="73">
                  <c:v>551</c:v>
                </c:pt>
                <c:pt idx="74">
                  <c:v>296</c:v>
                </c:pt>
                <c:pt idx="75">
                  <c:v>855</c:v>
                </c:pt>
                <c:pt idx="76">
                  <c:v>1375</c:v>
                </c:pt>
                <c:pt idx="77">
                  <c:v>1217</c:v>
                </c:pt>
                <c:pt idx="78">
                  <c:v>1137</c:v>
                </c:pt>
                <c:pt idx="79">
                  <c:v>1403</c:v>
                </c:pt>
                <c:pt idx="80">
                  <c:v>378</c:v>
                </c:pt>
                <c:pt idx="81">
                  <c:v>157</c:v>
                </c:pt>
                <c:pt idx="82">
                  <c:v>859</c:v>
                </c:pt>
                <c:pt idx="83">
                  <c:v>870</c:v>
                </c:pt>
                <c:pt idx="84">
                  <c:v>997</c:v>
                </c:pt>
                <c:pt idx="85">
                  <c:v>984</c:v>
                </c:pt>
                <c:pt idx="86">
                  <c:v>1181</c:v>
                </c:pt>
                <c:pt idx="87">
                  <c:v>290</c:v>
                </c:pt>
                <c:pt idx="88">
                  <c:v>245</c:v>
                </c:pt>
                <c:pt idx="89">
                  <c:v>1029</c:v>
                </c:pt>
                <c:pt idx="90">
                  <c:v>1256</c:v>
                </c:pt>
                <c:pt idx="91">
                  <c:v>1238</c:v>
                </c:pt>
                <c:pt idx="92">
                  <c:v>1322</c:v>
                </c:pt>
                <c:pt idx="93">
                  <c:v>321</c:v>
                </c:pt>
                <c:pt idx="94">
                  <c:v>168</c:v>
                </c:pt>
                <c:pt idx="95">
                  <c:v>100</c:v>
                </c:pt>
                <c:pt idx="96">
                  <c:v>102</c:v>
                </c:pt>
                <c:pt idx="97">
                  <c:v>864</c:v>
                </c:pt>
                <c:pt idx="98">
                  <c:v>1252</c:v>
                </c:pt>
                <c:pt idx="99">
                  <c:v>2154</c:v>
                </c:pt>
                <c:pt idx="100">
                  <c:v>2188</c:v>
                </c:pt>
                <c:pt idx="101">
                  <c:v>855</c:v>
                </c:pt>
                <c:pt idx="102">
                  <c:v>492</c:v>
                </c:pt>
                <c:pt idx="103">
                  <c:v>2490</c:v>
                </c:pt>
                <c:pt idx="104">
                  <c:v>2296</c:v>
                </c:pt>
                <c:pt idx="105">
                  <c:v>2489</c:v>
                </c:pt>
                <c:pt idx="106">
                  <c:v>3368</c:v>
                </c:pt>
                <c:pt idx="107">
                  <c:v>3491</c:v>
                </c:pt>
                <c:pt idx="108">
                  <c:v>980</c:v>
                </c:pt>
                <c:pt idx="109">
                  <c:v>680</c:v>
                </c:pt>
                <c:pt idx="110">
                  <c:v>2940</c:v>
                </c:pt>
                <c:pt idx="111">
                  <c:v>2980</c:v>
                </c:pt>
                <c:pt idx="112">
                  <c:v>3308</c:v>
                </c:pt>
                <c:pt idx="113">
                  <c:v>3646</c:v>
                </c:pt>
                <c:pt idx="114">
                  <c:v>3844</c:v>
                </c:pt>
                <c:pt idx="115">
                  <c:v>1769</c:v>
                </c:pt>
                <c:pt idx="116">
                  <c:v>2833</c:v>
                </c:pt>
                <c:pt idx="117">
                  <c:v>8564</c:v>
                </c:pt>
                <c:pt idx="118">
                  <c:v>12320</c:v>
                </c:pt>
                <c:pt idx="119">
                  <c:v>16572</c:v>
                </c:pt>
                <c:pt idx="120">
                  <c:v>21804</c:v>
                </c:pt>
                <c:pt idx="121">
                  <c:v>20998</c:v>
                </c:pt>
                <c:pt idx="122">
                  <c:v>6682</c:v>
                </c:pt>
                <c:pt idx="123">
                  <c:v>5699</c:v>
                </c:pt>
                <c:pt idx="124">
                  <c:v>21220</c:v>
                </c:pt>
                <c:pt idx="125">
                  <c:v>17158</c:v>
                </c:pt>
                <c:pt idx="126">
                  <c:v>19252</c:v>
                </c:pt>
                <c:pt idx="127">
                  <c:v>17092</c:v>
                </c:pt>
                <c:pt idx="128">
                  <c:v>16295</c:v>
                </c:pt>
                <c:pt idx="129">
                  <c:v>4597</c:v>
                </c:pt>
                <c:pt idx="130">
                  <c:v>3906</c:v>
                </c:pt>
                <c:pt idx="131">
                  <c:v>10830</c:v>
                </c:pt>
                <c:pt idx="132">
                  <c:v>18777</c:v>
                </c:pt>
                <c:pt idx="133">
                  <c:v>18777</c:v>
                </c:pt>
                <c:pt idx="134">
                  <c:v>18777</c:v>
                </c:pt>
                <c:pt idx="135">
                  <c:v>18777</c:v>
                </c:pt>
                <c:pt idx="136">
                  <c:v>18777</c:v>
                </c:pt>
                <c:pt idx="137">
                  <c:v>18777</c:v>
                </c:pt>
                <c:pt idx="138">
                  <c:v>18777</c:v>
                </c:pt>
                <c:pt idx="139">
                  <c:v>18777</c:v>
                </c:pt>
                <c:pt idx="140">
                  <c:v>18777</c:v>
                </c:pt>
                <c:pt idx="141">
                  <c:v>18777</c:v>
                </c:pt>
                <c:pt idx="142">
                  <c:v>18777</c:v>
                </c:pt>
                <c:pt idx="143">
                  <c:v>18777</c:v>
                </c:pt>
                <c:pt idx="144">
                  <c:v>18777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F267-42C6-AC42-927B0F02AEC7}"/>
            </c:ext>
          </c:extLst>
        </c:ser>
        <c:ser>
          <c:idx val="10"/>
          <c:order val="10"/>
          <c:tx>
            <c:strRef>
              <c:f>List1!$L$1</c:f>
              <c:strCache>
                <c:ptCount val="1"/>
                <c:pt idx="0">
                  <c:v>14 65-69</c:v>
                </c:pt>
              </c:strCache>
            </c:strRef>
          </c:tx>
          <c:spPr>
            <a:solidFill>
              <a:schemeClr val="accent5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L$5:$L$187</c:f>
              <c:numCache>
                <c:formatCode>General</c:formatCode>
                <c:ptCount val="183"/>
                <c:pt idx="0">
                  <c:v>164</c:v>
                </c:pt>
                <c:pt idx="1">
                  <c:v>61</c:v>
                </c:pt>
                <c:pt idx="2">
                  <c:v>12</c:v>
                </c:pt>
                <c:pt idx="3">
                  <c:v>50</c:v>
                </c:pt>
                <c:pt idx="4">
                  <c:v>42</c:v>
                </c:pt>
                <c:pt idx="5">
                  <c:v>194</c:v>
                </c:pt>
                <c:pt idx="6">
                  <c:v>225</c:v>
                </c:pt>
                <c:pt idx="7">
                  <c:v>284</c:v>
                </c:pt>
                <c:pt idx="8">
                  <c:v>373</c:v>
                </c:pt>
                <c:pt idx="9">
                  <c:v>447</c:v>
                </c:pt>
                <c:pt idx="10">
                  <c:v>147</c:v>
                </c:pt>
                <c:pt idx="11">
                  <c:v>130</c:v>
                </c:pt>
                <c:pt idx="12">
                  <c:v>463</c:v>
                </c:pt>
                <c:pt idx="13">
                  <c:v>706</c:v>
                </c:pt>
                <c:pt idx="14">
                  <c:v>755</c:v>
                </c:pt>
                <c:pt idx="15">
                  <c:v>877</c:v>
                </c:pt>
                <c:pt idx="16">
                  <c:v>814</c:v>
                </c:pt>
                <c:pt idx="17">
                  <c:v>166</c:v>
                </c:pt>
                <c:pt idx="18">
                  <c:v>86</c:v>
                </c:pt>
                <c:pt idx="19">
                  <c:v>595</c:v>
                </c:pt>
                <c:pt idx="20">
                  <c:v>573</c:v>
                </c:pt>
                <c:pt idx="21">
                  <c:v>560</c:v>
                </c:pt>
                <c:pt idx="22">
                  <c:v>572</c:v>
                </c:pt>
                <c:pt idx="23">
                  <c:v>435</c:v>
                </c:pt>
                <c:pt idx="24">
                  <c:v>63</c:v>
                </c:pt>
                <c:pt idx="25">
                  <c:v>44</c:v>
                </c:pt>
                <c:pt idx="26">
                  <c:v>263</c:v>
                </c:pt>
                <c:pt idx="27">
                  <c:v>393</c:v>
                </c:pt>
                <c:pt idx="28">
                  <c:v>248</c:v>
                </c:pt>
                <c:pt idx="29">
                  <c:v>210</c:v>
                </c:pt>
                <c:pt idx="30">
                  <c:v>179</c:v>
                </c:pt>
                <c:pt idx="31">
                  <c:v>27</c:v>
                </c:pt>
                <c:pt idx="32">
                  <c:v>9</c:v>
                </c:pt>
                <c:pt idx="33">
                  <c:v>113</c:v>
                </c:pt>
                <c:pt idx="34">
                  <c:v>137</c:v>
                </c:pt>
                <c:pt idx="35">
                  <c:v>142</c:v>
                </c:pt>
                <c:pt idx="36">
                  <c:v>146</c:v>
                </c:pt>
                <c:pt idx="37">
                  <c:v>159</c:v>
                </c:pt>
                <c:pt idx="38">
                  <c:v>10</c:v>
                </c:pt>
                <c:pt idx="39">
                  <c:v>6</c:v>
                </c:pt>
                <c:pt idx="40">
                  <c:v>84</c:v>
                </c:pt>
                <c:pt idx="41">
                  <c:v>146</c:v>
                </c:pt>
                <c:pt idx="42">
                  <c:v>146</c:v>
                </c:pt>
                <c:pt idx="43">
                  <c:v>237</c:v>
                </c:pt>
                <c:pt idx="44">
                  <c:v>254</c:v>
                </c:pt>
                <c:pt idx="45">
                  <c:v>42</c:v>
                </c:pt>
                <c:pt idx="46">
                  <c:v>31</c:v>
                </c:pt>
                <c:pt idx="47">
                  <c:v>196</c:v>
                </c:pt>
                <c:pt idx="48">
                  <c:v>244</c:v>
                </c:pt>
                <c:pt idx="49">
                  <c:v>296</c:v>
                </c:pt>
                <c:pt idx="50">
                  <c:v>444</c:v>
                </c:pt>
                <c:pt idx="51">
                  <c:v>364</c:v>
                </c:pt>
                <c:pt idx="52">
                  <c:v>71</c:v>
                </c:pt>
                <c:pt idx="53">
                  <c:v>22</c:v>
                </c:pt>
                <c:pt idx="54">
                  <c:v>296</c:v>
                </c:pt>
                <c:pt idx="55">
                  <c:v>378</c:v>
                </c:pt>
                <c:pt idx="56">
                  <c:v>522</c:v>
                </c:pt>
                <c:pt idx="57">
                  <c:v>625</c:v>
                </c:pt>
                <c:pt idx="58">
                  <c:v>667</c:v>
                </c:pt>
                <c:pt idx="59">
                  <c:v>68</c:v>
                </c:pt>
                <c:pt idx="60">
                  <c:v>62</c:v>
                </c:pt>
                <c:pt idx="61">
                  <c:v>936</c:v>
                </c:pt>
                <c:pt idx="62">
                  <c:v>1399</c:v>
                </c:pt>
                <c:pt idx="63">
                  <c:v>1486</c:v>
                </c:pt>
                <c:pt idx="64">
                  <c:v>1619</c:v>
                </c:pt>
                <c:pt idx="65">
                  <c:v>1202</c:v>
                </c:pt>
                <c:pt idx="66">
                  <c:v>570</c:v>
                </c:pt>
                <c:pt idx="67">
                  <c:v>651</c:v>
                </c:pt>
                <c:pt idx="68">
                  <c:v>1068</c:v>
                </c:pt>
                <c:pt idx="69">
                  <c:v>1236</c:v>
                </c:pt>
                <c:pt idx="70">
                  <c:v>1305</c:v>
                </c:pt>
                <c:pt idx="71">
                  <c:v>1479</c:v>
                </c:pt>
                <c:pt idx="72">
                  <c:v>1527</c:v>
                </c:pt>
                <c:pt idx="73">
                  <c:v>413</c:v>
                </c:pt>
                <c:pt idx="74">
                  <c:v>280</c:v>
                </c:pt>
                <c:pt idx="75">
                  <c:v>1054</c:v>
                </c:pt>
                <c:pt idx="76">
                  <c:v>1462</c:v>
                </c:pt>
                <c:pt idx="77">
                  <c:v>1420</c:v>
                </c:pt>
                <c:pt idx="78">
                  <c:v>1488</c:v>
                </c:pt>
                <c:pt idx="79">
                  <c:v>1619</c:v>
                </c:pt>
                <c:pt idx="80">
                  <c:v>423</c:v>
                </c:pt>
                <c:pt idx="81">
                  <c:v>139</c:v>
                </c:pt>
                <c:pt idx="82">
                  <c:v>1170</c:v>
                </c:pt>
                <c:pt idx="83">
                  <c:v>1387</c:v>
                </c:pt>
                <c:pt idx="84">
                  <c:v>1600</c:v>
                </c:pt>
                <c:pt idx="85">
                  <c:v>1535</c:v>
                </c:pt>
                <c:pt idx="86">
                  <c:v>1763</c:v>
                </c:pt>
                <c:pt idx="87">
                  <c:v>418</c:v>
                </c:pt>
                <c:pt idx="88">
                  <c:v>502</c:v>
                </c:pt>
                <c:pt idx="89">
                  <c:v>1867</c:v>
                </c:pt>
                <c:pt idx="90">
                  <c:v>2052</c:v>
                </c:pt>
                <c:pt idx="91">
                  <c:v>2114</c:v>
                </c:pt>
                <c:pt idx="92">
                  <c:v>2338</c:v>
                </c:pt>
                <c:pt idx="93">
                  <c:v>704</c:v>
                </c:pt>
                <c:pt idx="94">
                  <c:v>337</c:v>
                </c:pt>
                <c:pt idx="95">
                  <c:v>187</c:v>
                </c:pt>
                <c:pt idx="96">
                  <c:v>174</c:v>
                </c:pt>
                <c:pt idx="97">
                  <c:v>1494</c:v>
                </c:pt>
                <c:pt idx="98">
                  <c:v>2319</c:v>
                </c:pt>
                <c:pt idx="99">
                  <c:v>3834</c:v>
                </c:pt>
                <c:pt idx="100">
                  <c:v>3942</c:v>
                </c:pt>
                <c:pt idx="101">
                  <c:v>1612</c:v>
                </c:pt>
                <c:pt idx="102">
                  <c:v>845</c:v>
                </c:pt>
                <c:pt idx="103">
                  <c:v>4764</c:v>
                </c:pt>
                <c:pt idx="104">
                  <c:v>4687</c:v>
                </c:pt>
                <c:pt idx="105">
                  <c:v>6113</c:v>
                </c:pt>
                <c:pt idx="106">
                  <c:v>9915</c:v>
                </c:pt>
                <c:pt idx="107">
                  <c:v>8542</c:v>
                </c:pt>
                <c:pt idx="108">
                  <c:v>4220</c:v>
                </c:pt>
                <c:pt idx="109">
                  <c:v>2573</c:v>
                </c:pt>
                <c:pt idx="110">
                  <c:v>14964</c:v>
                </c:pt>
                <c:pt idx="111">
                  <c:v>15584</c:v>
                </c:pt>
                <c:pt idx="112">
                  <c:v>21020</c:v>
                </c:pt>
                <c:pt idx="113">
                  <c:v>25017</c:v>
                </c:pt>
                <c:pt idx="114">
                  <c:v>19511</c:v>
                </c:pt>
                <c:pt idx="115">
                  <c:v>7920</c:v>
                </c:pt>
                <c:pt idx="116">
                  <c:v>6209</c:v>
                </c:pt>
                <c:pt idx="117">
                  <c:v>22955</c:v>
                </c:pt>
                <c:pt idx="118">
                  <c:v>19677</c:v>
                </c:pt>
                <c:pt idx="119">
                  <c:v>22455</c:v>
                </c:pt>
                <c:pt idx="120">
                  <c:v>19814</c:v>
                </c:pt>
                <c:pt idx="121">
                  <c:v>14921</c:v>
                </c:pt>
                <c:pt idx="122">
                  <c:v>3492</c:v>
                </c:pt>
                <c:pt idx="123">
                  <c:v>4523</c:v>
                </c:pt>
                <c:pt idx="124">
                  <c:v>12449</c:v>
                </c:pt>
                <c:pt idx="125">
                  <c:v>11707</c:v>
                </c:pt>
                <c:pt idx="126">
                  <c:v>11651</c:v>
                </c:pt>
                <c:pt idx="127">
                  <c:v>11377</c:v>
                </c:pt>
                <c:pt idx="128">
                  <c:v>8879</c:v>
                </c:pt>
                <c:pt idx="129">
                  <c:v>3175</c:v>
                </c:pt>
                <c:pt idx="130">
                  <c:v>2463</c:v>
                </c:pt>
                <c:pt idx="131">
                  <c:v>7525</c:v>
                </c:pt>
                <c:pt idx="132">
                  <c:v>11818</c:v>
                </c:pt>
                <c:pt idx="133">
                  <c:v>11818</c:v>
                </c:pt>
                <c:pt idx="134">
                  <c:v>11818</c:v>
                </c:pt>
                <c:pt idx="135">
                  <c:v>11818</c:v>
                </c:pt>
                <c:pt idx="136">
                  <c:v>11818</c:v>
                </c:pt>
                <c:pt idx="137">
                  <c:v>11818</c:v>
                </c:pt>
                <c:pt idx="138">
                  <c:v>11818</c:v>
                </c:pt>
                <c:pt idx="139">
                  <c:v>11818</c:v>
                </c:pt>
                <c:pt idx="140">
                  <c:v>11818</c:v>
                </c:pt>
                <c:pt idx="141">
                  <c:v>11818</c:v>
                </c:pt>
                <c:pt idx="142">
                  <c:v>11818</c:v>
                </c:pt>
                <c:pt idx="143">
                  <c:v>11818</c:v>
                </c:pt>
                <c:pt idx="144">
                  <c:v>11818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F267-42C6-AC42-927B0F02AEC7}"/>
            </c:ext>
          </c:extLst>
        </c:ser>
        <c:ser>
          <c:idx val="11"/>
          <c:order val="11"/>
          <c:tx>
            <c:strRef>
              <c:f>List1!$M$1</c:f>
              <c:strCache>
                <c:ptCount val="1"/>
                <c:pt idx="0">
                  <c:v>15 70-74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M$5:$M$187</c:f>
              <c:numCache>
                <c:formatCode>General</c:formatCode>
                <c:ptCount val="183"/>
                <c:pt idx="0">
                  <c:v>93</c:v>
                </c:pt>
                <c:pt idx="1">
                  <c:v>54</c:v>
                </c:pt>
                <c:pt idx="2">
                  <c:v>6</c:v>
                </c:pt>
                <c:pt idx="3">
                  <c:v>25</c:v>
                </c:pt>
                <c:pt idx="4">
                  <c:v>21</c:v>
                </c:pt>
                <c:pt idx="5">
                  <c:v>96</c:v>
                </c:pt>
                <c:pt idx="6">
                  <c:v>99</c:v>
                </c:pt>
                <c:pt idx="7">
                  <c:v>165</c:v>
                </c:pt>
                <c:pt idx="8">
                  <c:v>258</c:v>
                </c:pt>
                <c:pt idx="9">
                  <c:v>291</c:v>
                </c:pt>
                <c:pt idx="10">
                  <c:v>108</c:v>
                </c:pt>
                <c:pt idx="11">
                  <c:v>89</c:v>
                </c:pt>
                <c:pt idx="12">
                  <c:v>262</c:v>
                </c:pt>
                <c:pt idx="13">
                  <c:v>460</c:v>
                </c:pt>
                <c:pt idx="14">
                  <c:v>662</c:v>
                </c:pt>
                <c:pt idx="15">
                  <c:v>749</c:v>
                </c:pt>
                <c:pt idx="16">
                  <c:v>651</c:v>
                </c:pt>
                <c:pt idx="17">
                  <c:v>162</c:v>
                </c:pt>
                <c:pt idx="18">
                  <c:v>77</c:v>
                </c:pt>
                <c:pt idx="19">
                  <c:v>468</c:v>
                </c:pt>
                <c:pt idx="20">
                  <c:v>450</c:v>
                </c:pt>
                <c:pt idx="21">
                  <c:v>489</c:v>
                </c:pt>
                <c:pt idx="22">
                  <c:v>495</c:v>
                </c:pt>
                <c:pt idx="23">
                  <c:v>405</c:v>
                </c:pt>
                <c:pt idx="24">
                  <c:v>82</c:v>
                </c:pt>
                <c:pt idx="25">
                  <c:v>42</c:v>
                </c:pt>
                <c:pt idx="26">
                  <c:v>222</c:v>
                </c:pt>
                <c:pt idx="27">
                  <c:v>240</c:v>
                </c:pt>
                <c:pt idx="28">
                  <c:v>230</c:v>
                </c:pt>
                <c:pt idx="29">
                  <c:v>182</c:v>
                </c:pt>
                <c:pt idx="30">
                  <c:v>118</c:v>
                </c:pt>
                <c:pt idx="31">
                  <c:v>13</c:v>
                </c:pt>
                <c:pt idx="32">
                  <c:v>17</c:v>
                </c:pt>
                <c:pt idx="33">
                  <c:v>110</c:v>
                </c:pt>
                <c:pt idx="34">
                  <c:v>119</c:v>
                </c:pt>
                <c:pt idx="35">
                  <c:v>125</c:v>
                </c:pt>
                <c:pt idx="36">
                  <c:v>132</c:v>
                </c:pt>
                <c:pt idx="37">
                  <c:v>161</c:v>
                </c:pt>
                <c:pt idx="38">
                  <c:v>13</c:v>
                </c:pt>
                <c:pt idx="39">
                  <c:v>19</c:v>
                </c:pt>
                <c:pt idx="40">
                  <c:v>111</c:v>
                </c:pt>
                <c:pt idx="41">
                  <c:v>151</c:v>
                </c:pt>
                <c:pt idx="42">
                  <c:v>128</c:v>
                </c:pt>
                <c:pt idx="43">
                  <c:v>246</c:v>
                </c:pt>
                <c:pt idx="44">
                  <c:v>252</c:v>
                </c:pt>
                <c:pt idx="45">
                  <c:v>34</c:v>
                </c:pt>
                <c:pt idx="46">
                  <c:v>19</c:v>
                </c:pt>
                <c:pt idx="47">
                  <c:v>203</c:v>
                </c:pt>
                <c:pt idx="48">
                  <c:v>263</c:v>
                </c:pt>
                <c:pt idx="49">
                  <c:v>309</c:v>
                </c:pt>
                <c:pt idx="50">
                  <c:v>424</c:v>
                </c:pt>
                <c:pt idx="51">
                  <c:v>347</c:v>
                </c:pt>
                <c:pt idx="52">
                  <c:v>55</c:v>
                </c:pt>
                <c:pt idx="53">
                  <c:v>16</c:v>
                </c:pt>
                <c:pt idx="54">
                  <c:v>275</c:v>
                </c:pt>
                <c:pt idx="55">
                  <c:v>320</c:v>
                </c:pt>
                <c:pt idx="56">
                  <c:v>501</c:v>
                </c:pt>
                <c:pt idx="57">
                  <c:v>669</c:v>
                </c:pt>
                <c:pt idx="58">
                  <c:v>862</c:v>
                </c:pt>
                <c:pt idx="59">
                  <c:v>146</c:v>
                </c:pt>
                <c:pt idx="60">
                  <c:v>67</c:v>
                </c:pt>
                <c:pt idx="61">
                  <c:v>1277</c:v>
                </c:pt>
                <c:pt idx="62">
                  <c:v>2312</c:v>
                </c:pt>
                <c:pt idx="63">
                  <c:v>3257</c:v>
                </c:pt>
                <c:pt idx="64">
                  <c:v>3796</c:v>
                </c:pt>
                <c:pt idx="65">
                  <c:v>3762</c:v>
                </c:pt>
                <c:pt idx="66">
                  <c:v>2196</c:v>
                </c:pt>
                <c:pt idx="67">
                  <c:v>2364</c:v>
                </c:pt>
                <c:pt idx="68">
                  <c:v>5219</c:v>
                </c:pt>
                <c:pt idx="69">
                  <c:v>6132</c:v>
                </c:pt>
                <c:pt idx="70">
                  <c:v>8694</c:v>
                </c:pt>
                <c:pt idx="71">
                  <c:v>10286</c:v>
                </c:pt>
                <c:pt idx="72">
                  <c:v>9998</c:v>
                </c:pt>
                <c:pt idx="73">
                  <c:v>4653</c:v>
                </c:pt>
                <c:pt idx="74">
                  <c:v>2896</c:v>
                </c:pt>
                <c:pt idx="75">
                  <c:v>8929</c:v>
                </c:pt>
                <c:pt idx="76">
                  <c:v>11382</c:v>
                </c:pt>
                <c:pt idx="77">
                  <c:v>12463</c:v>
                </c:pt>
                <c:pt idx="78">
                  <c:v>12766</c:v>
                </c:pt>
                <c:pt idx="79">
                  <c:v>10026</c:v>
                </c:pt>
                <c:pt idx="80">
                  <c:v>4627</c:v>
                </c:pt>
                <c:pt idx="81">
                  <c:v>2241</c:v>
                </c:pt>
                <c:pt idx="82">
                  <c:v>8114</c:v>
                </c:pt>
                <c:pt idx="83">
                  <c:v>9002</c:v>
                </c:pt>
                <c:pt idx="84">
                  <c:v>9075</c:v>
                </c:pt>
                <c:pt idx="85">
                  <c:v>8374</c:v>
                </c:pt>
                <c:pt idx="86">
                  <c:v>6406</c:v>
                </c:pt>
                <c:pt idx="87">
                  <c:v>2737</c:v>
                </c:pt>
                <c:pt idx="88">
                  <c:v>1620</c:v>
                </c:pt>
                <c:pt idx="89">
                  <c:v>5530</c:v>
                </c:pt>
                <c:pt idx="90">
                  <c:v>7148</c:v>
                </c:pt>
                <c:pt idx="91">
                  <c:v>6401</c:v>
                </c:pt>
                <c:pt idx="92">
                  <c:v>7675</c:v>
                </c:pt>
                <c:pt idx="93">
                  <c:v>1580</c:v>
                </c:pt>
                <c:pt idx="94">
                  <c:v>937</c:v>
                </c:pt>
                <c:pt idx="95">
                  <c:v>890</c:v>
                </c:pt>
                <c:pt idx="96">
                  <c:v>855</c:v>
                </c:pt>
                <c:pt idx="97">
                  <c:v>5261</c:v>
                </c:pt>
                <c:pt idx="98">
                  <c:v>7057</c:v>
                </c:pt>
                <c:pt idx="99">
                  <c:v>13137</c:v>
                </c:pt>
                <c:pt idx="100">
                  <c:v>12605</c:v>
                </c:pt>
                <c:pt idx="101">
                  <c:v>5354</c:v>
                </c:pt>
                <c:pt idx="102">
                  <c:v>4212</c:v>
                </c:pt>
                <c:pt idx="103">
                  <c:v>14587</c:v>
                </c:pt>
                <c:pt idx="104">
                  <c:v>13024</c:v>
                </c:pt>
                <c:pt idx="105">
                  <c:v>14556</c:v>
                </c:pt>
                <c:pt idx="106">
                  <c:v>15696</c:v>
                </c:pt>
                <c:pt idx="107">
                  <c:v>12211</c:v>
                </c:pt>
                <c:pt idx="108">
                  <c:v>3926</c:v>
                </c:pt>
                <c:pt idx="109">
                  <c:v>3776</c:v>
                </c:pt>
                <c:pt idx="110">
                  <c:v>9367</c:v>
                </c:pt>
                <c:pt idx="111">
                  <c:v>8071</c:v>
                </c:pt>
                <c:pt idx="112">
                  <c:v>7042</c:v>
                </c:pt>
                <c:pt idx="113">
                  <c:v>7792</c:v>
                </c:pt>
                <c:pt idx="114">
                  <c:v>6258</c:v>
                </c:pt>
                <c:pt idx="115">
                  <c:v>2035</c:v>
                </c:pt>
                <c:pt idx="116">
                  <c:v>1392</c:v>
                </c:pt>
                <c:pt idx="117">
                  <c:v>5190</c:v>
                </c:pt>
                <c:pt idx="118">
                  <c:v>5014</c:v>
                </c:pt>
                <c:pt idx="119">
                  <c:v>5355</c:v>
                </c:pt>
                <c:pt idx="120">
                  <c:v>5409</c:v>
                </c:pt>
                <c:pt idx="121">
                  <c:v>4304</c:v>
                </c:pt>
                <c:pt idx="122">
                  <c:v>1156</c:v>
                </c:pt>
                <c:pt idx="123">
                  <c:v>973</c:v>
                </c:pt>
                <c:pt idx="124">
                  <c:v>3821</c:v>
                </c:pt>
                <c:pt idx="125">
                  <c:v>4233</c:v>
                </c:pt>
                <c:pt idx="126">
                  <c:v>4444</c:v>
                </c:pt>
                <c:pt idx="127">
                  <c:v>4576</c:v>
                </c:pt>
                <c:pt idx="128">
                  <c:v>3506</c:v>
                </c:pt>
                <c:pt idx="129">
                  <c:v>1214</c:v>
                </c:pt>
                <c:pt idx="130">
                  <c:v>993</c:v>
                </c:pt>
                <c:pt idx="131">
                  <c:v>3202</c:v>
                </c:pt>
                <c:pt idx="132">
                  <c:v>4302</c:v>
                </c:pt>
                <c:pt idx="133">
                  <c:v>4302</c:v>
                </c:pt>
                <c:pt idx="134">
                  <c:v>4302</c:v>
                </c:pt>
                <c:pt idx="135">
                  <c:v>4302</c:v>
                </c:pt>
                <c:pt idx="136">
                  <c:v>4302</c:v>
                </c:pt>
                <c:pt idx="137">
                  <c:v>4302</c:v>
                </c:pt>
                <c:pt idx="138">
                  <c:v>4302</c:v>
                </c:pt>
                <c:pt idx="139">
                  <c:v>4302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F267-42C6-AC42-927B0F02AEC7}"/>
            </c:ext>
          </c:extLst>
        </c:ser>
        <c:ser>
          <c:idx val="12"/>
          <c:order val="12"/>
          <c:tx>
            <c:strRef>
              <c:f>List1!$N$1</c:f>
              <c:strCache>
                <c:ptCount val="1"/>
                <c:pt idx="0">
                  <c:v>16 75-79</c:v>
                </c:pt>
              </c:strCache>
            </c:strRef>
          </c:tx>
          <c:spPr>
            <a:solidFill>
              <a:schemeClr val="accent1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N$5:$N$187</c:f>
              <c:numCache>
                <c:formatCode>General</c:formatCode>
                <c:ptCount val="183"/>
                <c:pt idx="0">
                  <c:v>64</c:v>
                </c:pt>
                <c:pt idx="1">
                  <c:v>57</c:v>
                </c:pt>
                <c:pt idx="2">
                  <c:v>2</c:v>
                </c:pt>
                <c:pt idx="3">
                  <c:v>15</c:v>
                </c:pt>
                <c:pt idx="4">
                  <c:v>8</c:v>
                </c:pt>
                <c:pt idx="5">
                  <c:v>35</c:v>
                </c:pt>
                <c:pt idx="6">
                  <c:v>50</c:v>
                </c:pt>
                <c:pt idx="7">
                  <c:v>72</c:v>
                </c:pt>
                <c:pt idx="8">
                  <c:v>195</c:v>
                </c:pt>
                <c:pt idx="9">
                  <c:v>215</c:v>
                </c:pt>
                <c:pt idx="10">
                  <c:v>71</c:v>
                </c:pt>
                <c:pt idx="11">
                  <c:v>62</c:v>
                </c:pt>
                <c:pt idx="12">
                  <c:v>192</c:v>
                </c:pt>
                <c:pt idx="13">
                  <c:v>438</c:v>
                </c:pt>
                <c:pt idx="14">
                  <c:v>538</c:v>
                </c:pt>
                <c:pt idx="15">
                  <c:v>669</c:v>
                </c:pt>
                <c:pt idx="16">
                  <c:v>581</c:v>
                </c:pt>
                <c:pt idx="17">
                  <c:v>192</c:v>
                </c:pt>
                <c:pt idx="18">
                  <c:v>130</c:v>
                </c:pt>
                <c:pt idx="19">
                  <c:v>445</c:v>
                </c:pt>
                <c:pt idx="20">
                  <c:v>394</c:v>
                </c:pt>
                <c:pt idx="21">
                  <c:v>498</c:v>
                </c:pt>
                <c:pt idx="22">
                  <c:v>561</c:v>
                </c:pt>
                <c:pt idx="23">
                  <c:v>389</c:v>
                </c:pt>
                <c:pt idx="24">
                  <c:v>98</c:v>
                </c:pt>
                <c:pt idx="25">
                  <c:v>64</c:v>
                </c:pt>
                <c:pt idx="26">
                  <c:v>231</c:v>
                </c:pt>
                <c:pt idx="27">
                  <c:v>293</c:v>
                </c:pt>
                <c:pt idx="28">
                  <c:v>237</c:v>
                </c:pt>
                <c:pt idx="29">
                  <c:v>164</c:v>
                </c:pt>
                <c:pt idx="30">
                  <c:v>148</c:v>
                </c:pt>
                <c:pt idx="31">
                  <c:v>13</c:v>
                </c:pt>
                <c:pt idx="32">
                  <c:v>12</c:v>
                </c:pt>
                <c:pt idx="33">
                  <c:v>116</c:v>
                </c:pt>
                <c:pt idx="34">
                  <c:v>102</c:v>
                </c:pt>
                <c:pt idx="35">
                  <c:v>107</c:v>
                </c:pt>
                <c:pt idx="36">
                  <c:v>155</c:v>
                </c:pt>
                <c:pt idx="37">
                  <c:v>178</c:v>
                </c:pt>
                <c:pt idx="38">
                  <c:v>15</c:v>
                </c:pt>
                <c:pt idx="39">
                  <c:v>22</c:v>
                </c:pt>
                <c:pt idx="40">
                  <c:v>158</c:v>
                </c:pt>
                <c:pt idx="41">
                  <c:v>197</c:v>
                </c:pt>
                <c:pt idx="42">
                  <c:v>180</c:v>
                </c:pt>
                <c:pt idx="43">
                  <c:v>271</c:v>
                </c:pt>
                <c:pt idx="44">
                  <c:v>311</c:v>
                </c:pt>
                <c:pt idx="45">
                  <c:v>35</c:v>
                </c:pt>
                <c:pt idx="46">
                  <c:v>17</c:v>
                </c:pt>
                <c:pt idx="47">
                  <c:v>195</c:v>
                </c:pt>
                <c:pt idx="48">
                  <c:v>308</c:v>
                </c:pt>
                <c:pt idx="49">
                  <c:v>352</c:v>
                </c:pt>
                <c:pt idx="50">
                  <c:v>369</c:v>
                </c:pt>
                <c:pt idx="51">
                  <c:v>417</c:v>
                </c:pt>
                <c:pt idx="52">
                  <c:v>60</c:v>
                </c:pt>
                <c:pt idx="53">
                  <c:v>32</c:v>
                </c:pt>
                <c:pt idx="54">
                  <c:v>263</c:v>
                </c:pt>
                <c:pt idx="55">
                  <c:v>345</c:v>
                </c:pt>
                <c:pt idx="56">
                  <c:v>569</c:v>
                </c:pt>
                <c:pt idx="57">
                  <c:v>692</c:v>
                </c:pt>
                <c:pt idx="58">
                  <c:v>902</c:v>
                </c:pt>
                <c:pt idx="59">
                  <c:v>146</c:v>
                </c:pt>
                <c:pt idx="60">
                  <c:v>53</c:v>
                </c:pt>
                <c:pt idx="61">
                  <c:v>1206</c:v>
                </c:pt>
                <c:pt idx="62">
                  <c:v>2823</c:v>
                </c:pt>
                <c:pt idx="63">
                  <c:v>5607</c:v>
                </c:pt>
                <c:pt idx="64">
                  <c:v>8191</c:v>
                </c:pt>
                <c:pt idx="65">
                  <c:v>7800</c:v>
                </c:pt>
                <c:pt idx="66">
                  <c:v>2670</c:v>
                </c:pt>
                <c:pt idx="67">
                  <c:v>2235</c:v>
                </c:pt>
                <c:pt idx="68">
                  <c:v>8528</c:v>
                </c:pt>
                <c:pt idx="69">
                  <c:v>11001</c:v>
                </c:pt>
                <c:pt idx="70">
                  <c:v>13570</c:v>
                </c:pt>
                <c:pt idx="71">
                  <c:v>14013</c:v>
                </c:pt>
                <c:pt idx="72">
                  <c:v>11705</c:v>
                </c:pt>
                <c:pt idx="73">
                  <c:v>5751</c:v>
                </c:pt>
                <c:pt idx="74">
                  <c:v>4653</c:v>
                </c:pt>
                <c:pt idx="75">
                  <c:v>8301</c:v>
                </c:pt>
                <c:pt idx="76">
                  <c:v>10778</c:v>
                </c:pt>
                <c:pt idx="77">
                  <c:v>10089</c:v>
                </c:pt>
                <c:pt idx="78">
                  <c:v>10204</c:v>
                </c:pt>
                <c:pt idx="79">
                  <c:v>8615</c:v>
                </c:pt>
                <c:pt idx="80">
                  <c:v>4574</c:v>
                </c:pt>
                <c:pt idx="81">
                  <c:v>2535</c:v>
                </c:pt>
                <c:pt idx="82">
                  <c:v>6356</c:v>
                </c:pt>
                <c:pt idx="83">
                  <c:v>6509</c:v>
                </c:pt>
                <c:pt idx="84">
                  <c:v>6356</c:v>
                </c:pt>
                <c:pt idx="85">
                  <c:v>6388</c:v>
                </c:pt>
                <c:pt idx="86">
                  <c:v>5405</c:v>
                </c:pt>
                <c:pt idx="87">
                  <c:v>2449</c:v>
                </c:pt>
                <c:pt idx="88">
                  <c:v>1017</c:v>
                </c:pt>
                <c:pt idx="89">
                  <c:v>4036</c:v>
                </c:pt>
                <c:pt idx="90">
                  <c:v>5146</c:v>
                </c:pt>
                <c:pt idx="91">
                  <c:v>4831</c:v>
                </c:pt>
                <c:pt idx="92">
                  <c:v>4945</c:v>
                </c:pt>
                <c:pt idx="93">
                  <c:v>1476</c:v>
                </c:pt>
                <c:pt idx="94">
                  <c:v>637</c:v>
                </c:pt>
                <c:pt idx="95">
                  <c:v>467</c:v>
                </c:pt>
                <c:pt idx="96">
                  <c:v>433</c:v>
                </c:pt>
                <c:pt idx="97">
                  <c:v>3255</c:v>
                </c:pt>
                <c:pt idx="98">
                  <c:v>4782</c:v>
                </c:pt>
                <c:pt idx="99">
                  <c:v>7081</c:v>
                </c:pt>
                <c:pt idx="100">
                  <c:v>6370</c:v>
                </c:pt>
                <c:pt idx="101">
                  <c:v>1846</c:v>
                </c:pt>
                <c:pt idx="102">
                  <c:v>1168</c:v>
                </c:pt>
                <c:pt idx="103">
                  <c:v>5155</c:v>
                </c:pt>
                <c:pt idx="104">
                  <c:v>4876</c:v>
                </c:pt>
                <c:pt idx="105">
                  <c:v>4672</c:v>
                </c:pt>
                <c:pt idx="106">
                  <c:v>4476</c:v>
                </c:pt>
                <c:pt idx="107">
                  <c:v>3608</c:v>
                </c:pt>
                <c:pt idx="108">
                  <c:v>822</c:v>
                </c:pt>
                <c:pt idx="109">
                  <c:v>886</c:v>
                </c:pt>
                <c:pt idx="110">
                  <c:v>2477</c:v>
                </c:pt>
                <c:pt idx="111">
                  <c:v>2607</c:v>
                </c:pt>
                <c:pt idx="112">
                  <c:v>2637</c:v>
                </c:pt>
                <c:pt idx="113">
                  <c:v>2918</c:v>
                </c:pt>
                <c:pt idx="114">
                  <c:v>2375</c:v>
                </c:pt>
                <c:pt idx="115">
                  <c:v>772</c:v>
                </c:pt>
                <c:pt idx="116">
                  <c:v>507</c:v>
                </c:pt>
                <c:pt idx="117">
                  <c:v>2151</c:v>
                </c:pt>
                <c:pt idx="118">
                  <c:v>2166</c:v>
                </c:pt>
                <c:pt idx="119">
                  <c:v>2371</c:v>
                </c:pt>
                <c:pt idx="120">
                  <c:v>2367</c:v>
                </c:pt>
                <c:pt idx="121">
                  <c:v>1935</c:v>
                </c:pt>
                <c:pt idx="122">
                  <c:v>531</c:v>
                </c:pt>
                <c:pt idx="123">
                  <c:v>461</c:v>
                </c:pt>
                <c:pt idx="124">
                  <c:v>1723</c:v>
                </c:pt>
                <c:pt idx="125">
                  <c:v>1983</c:v>
                </c:pt>
                <c:pt idx="126">
                  <c:v>2192</c:v>
                </c:pt>
                <c:pt idx="127">
                  <c:v>2247</c:v>
                </c:pt>
                <c:pt idx="128">
                  <c:v>1690</c:v>
                </c:pt>
                <c:pt idx="129">
                  <c:v>600</c:v>
                </c:pt>
                <c:pt idx="130">
                  <c:v>447</c:v>
                </c:pt>
                <c:pt idx="131">
                  <c:v>1454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F267-42C6-AC42-927B0F02AEC7}"/>
            </c:ext>
          </c:extLst>
        </c:ser>
        <c:ser>
          <c:idx val="13"/>
          <c:order val="13"/>
          <c:tx>
            <c:strRef>
              <c:f>List1!$O$1</c:f>
              <c:strCache>
                <c:ptCount val="1"/>
                <c:pt idx="0">
                  <c:v>17 80-84</c:v>
                </c:pt>
              </c:strCache>
            </c:strRef>
          </c:tx>
          <c:spPr>
            <a:solidFill>
              <a:schemeClr val="accent2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O$5:$O$187</c:f>
              <c:numCache>
                <c:formatCode>General</c:formatCode>
                <c:ptCount val="183"/>
                <c:pt idx="0">
                  <c:v>61</c:v>
                </c:pt>
                <c:pt idx="1">
                  <c:v>34</c:v>
                </c:pt>
                <c:pt idx="2">
                  <c:v>3</c:v>
                </c:pt>
                <c:pt idx="3">
                  <c:v>7</c:v>
                </c:pt>
                <c:pt idx="4">
                  <c:v>0</c:v>
                </c:pt>
                <c:pt idx="5">
                  <c:v>17</c:v>
                </c:pt>
                <c:pt idx="6">
                  <c:v>20</c:v>
                </c:pt>
                <c:pt idx="7">
                  <c:v>38</c:v>
                </c:pt>
                <c:pt idx="8">
                  <c:v>131</c:v>
                </c:pt>
                <c:pt idx="9">
                  <c:v>229</c:v>
                </c:pt>
                <c:pt idx="10">
                  <c:v>72</c:v>
                </c:pt>
                <c:pt idx="11">
                  <c:v>44</c:v>
                </c:pt>
                <c:pt idx="12">
                  <c:v>179</c:v>
                </c:pt>
                <c:pt idx="13">
                  <c:v>478</c:v>
                </c:pt>
                <c:pt idx="14">
                  <c:v>583</c:v>
                </c:pt>
                <c:pt idx="15">
                  <c:v>828</c:v>
                </c:pt>
                <c:pt idx="16">
                  <c:v>868</c:v>
                </c:pt>
                <c:pt idx="17">
                  <c:v>736</c:v>
                </c:pt>
                <c:pt idx="18">
                  <c:v>855</c:v>
                </c:pt>
                <c:pt idx="19">
                  <c:v>2525</c:v>
                </c:pt>
                <c:pt idx="20">
                  <c:v>2825</c:v>
                </c:pt>
                <c:pt idx="21">
                  <c:v>3265</c:v>
                </c:pt>
                <c:pt idx="22">
                  <c:v>4388</c:v>
                </c:pt>
                <c:pt idx="23">
                  <c:v>4945</c:v>
                </c:pt>
                <c:pt idx="24">
                  <c:v>1327</c:v>
                </c:pt>
                <c:pt idx="25">
                  <c:v>1016</c:v>
                </c:pt>
                <c:pt idx="26">
                  <c:v>2990</c:v>
                </c:pt>
                <c:pt idx="27">
                  <c:v>2817</c:v>
                </c:pt>
                <c:pt idx="28">
                  <c:v>2557</c:v>
                </c:pt>
                <c:pt idx="29">
                  <c:v>2201</c:v>
                </c:pt>
                <c:pt idx="30">
                  <c:v>2015</c:v>
                </c:pt>
                <c:pt idx="31">
                  <c:v>319</c:v>
                </c:pt>
                <c:pt idx="32">
                  <c:v>280</c:v>
                </c:pt>
                <c:pt idx="33">
                  <c:v>1404</c:v>
                </c:pt>
                <c:pt idx="34">
                  <c:v>1207</c:v>
                </c:pt>
                <c:pt idx="35">
                  <c:v>1240</c:v>
                </c:pt>
                <c:pt idx="36">
                  <c:v>1537</c:v>
                </c:pt>
                <c:pt idx="37">
                  <c:v>1549</c:v>
                </c:pt>
                <c:pt idx="38">
                  <c:v>368</c:v>
                </c:pt>
                <c:pt idx="39">
                  <c:v>371</c:v>
                </c:pt>
                <c:pt idx="40">
                  <c:v>1209</c:v>
                </c:pt>
                <c:pt idx="41">
                  <c:v>1224</c:v>
                </c:pt>
                <c:pt idx="42">
                  <c:v>1216</c:v>
                </c:pt>
                <c:pt idx="43">
                  <c:v>1585</c:v>
                </c:pt>
                <c:pt idx="44">
                  <c:v>1695</c:v>
                </c:pt>
                <c:pt idx="45">
                  <c:v>538</c:v>
                </c:pt>
                <c:pt idx="46">
                  <c:v>317</c:v>
                </c:pt>
                <c:pt idx="47">
                  <c:v>1775</c:v>
                </c:pt>
                <c:pt idx="48">
                  <c:v>2649</c:v>
                </c:pt>
                <c:pt idx="49">
                  <c:v>2878</c:v>
                </c:pt>
                <c:pt idx="50">
                  <c:v>3769</c:v>
                </c:pt>
                <c:pt idx="51">
                  <c:v>3515</c:v>
                </c:pt>
                <c:pt idx="52">
                  <c:v>519</c:v>
                </c:pt>
                <c:pt idx="53">
                  <c:v>323</c:v>
                </c:pt>
                <c:pt idx="54">
                  <c:v>3435</c:v>
                </c:pt>
                <c:pt idx="55">
                  <c:v>4576</c:v>
                </c:pt>
                <c:pt idx="56">
                  <c:v>4873</c:v>
                </c:pt>
                <c:pt idx="57">
                  <c:v>7100</c:v>
                </c:pt>
                <c:pt idx="58">
                  <c:v>5387</c:v>
                </c:pt>
                <c:pt idx="59">
                  <c:v>1082</c:v>
                </c:pt>
                <c:pt idx="60">
                  <c:v>793</c:v>
                </c:pt>
                <c:pt idx="61">
                  <c:v>5389</c:v>
                </c:pt>
                <c:pt idx="62">
                  <c:v>5422</c:v>
                </c:pt>
                <c:pt idx="63">
                  <c:v>5140</c:v>
                </c:pt>
                <c:pt idx="64">
                  <c:v>5202</c:v>
                </c:pt>
                <c:pt idx="65">
                  <c:v>3489</c:v>
                </c:pt>
                <c:pt idx="66">
                  <c:v>1216</c:v>
                </c:pt>
                <c:pt idx="67">
                  <c:v>1116</c:v>
                </c:pt>
                <c:pt idx="68">
                  <c:v>3045</c:v>
                </c:pt>
                <c:pt idx="69">
                  <c:v>3471</c:v>
                </c:pt>
                <c:pt idx="70">
                  <c:v>3912</c:v>
                </c:pt>
                <c:pt idx="71">
                  <c:v>4006</c:v>
                </c:pt>
                <c:pt idx="72">
                  <c:v>2657</c:v>
                </c:pt>
                <c:pt idx="73">
                  <c:v>980</c:v>
                </c:pt>
                <c:pt idx="74">
                  <c:v>727</c:v>
                </c:pt>
                <c:pt idx="75">
                  <c:v>1396</c:v>
                </c:pt>
                <c:pt idx="76">
                  <c:v>2070</c:v>
                </c:pt>
                <c:pt idx="77">
                  <c:v>2183</c:v>
                </c:pt>
                <c:pt idx="78">
                  <c:v>2364</c:v>
                </c:pt>
                <c:pt idx="79">
                  <c:v>1957</c:v>
                </c:pt>
                <c:pt idx="80">
                  <c:v>625</c:v>
                </c:pt>
                <c:pt idx="81">
                  <c:v>342</c:v>
                </c:pt>
                <c:pt idx="82">
                  <c:v>1268</c:v>
                </c:pt>
                <c:pt idx="83">
                  <c:v>1440</c:v>
                </c:pt>
                <c:pt idx="84">
                  <c:v>1465</c:v>
                </c:pt>
                <c:pt idx="85">
                  <c:v>1522</c:v>
                </c:pt>
                <c:pt idx="86">
                  <c:v>1190</c:v>
                </c:pt>
                <c:pt idx="87">
                  <c:v>375</c:v>
                </c:pt>
                <c:pt idx="88">
                  <c:v>176</c:v>
                </c:pt>
                <c:pt idx="89">
                  <c:v>1073</c:v>
                </c:pt>
                <c:pt idx="90">
                  <c:v>1370</c:v>
                </c:pt>
                <c:pt idx="91">
                  <c:v>1298</c:v>
                </c:pt>
                <c:pt idx="92">
                  <c:v>1279</c:v>
                </c:pt>
                <c:pt idx="93">
                  <c:v>390</c:v>
                </c:pt>
                <c:pt idx="94">
                  <c:v>152</c:v>
                </c:pt>
                <c:pt idx="95">
                  <c:v>91</c:v>
                </c:pt>
                <c:pt idx="96">
                  <c:v>89</c:v>
                </c:pt>
                <c:pt idx="97">
                  <c:v>866</c:v>
                </c:pt>
                <c:pt idx="98">
                  <c:v>1215</c:v>
                </c:pt>
                <c:pt idx="99">
                  <c:v>1759</c:v>
                </c:pt>
                <c:pt idx="100">
                  <c:v>1429</c:v>
                </c:pt>
                <c:pt idx="101">
                  <c:v>453</c:v>
                </c:pt>
                <c:pt idx="102">
                  <c:v>277</c:v>
                </c:pt>
                <c:pt idx="103">
                  <c:v>1177</c:v>
                </c:pt>
                <c:pt idx="104">
                  <c:v>1087</c:v>
                </c:pt>
                <c:pt idx="105">
                  <c:v>998</c:v>
                </c:pt>
                <c:pt idx="106">
                  <c:v>1046</c:v>
                </c:pt>
                <c:pt idx="107">
                  <c:v>840</c:v>
                </c:pt>
                <c:pt idx="108">
                  <c:v>184</c:v>
                </c:pt>
                <c:pt idx="109">
                  <c:v>154</c:v>
                </c:pt>
                <c:pt idx="110">
                  <c:v>589</c:v>
                </c:pt>
                <c:pt idx="111">
                  <c:v>668</c:v>
                </c:pt>
                <c:pt idx="112">
                  <c:v>695</c:v>
                </c:pt>
                <c:pt idx="113">
                  <c:v>756</c:v>
                </c:pt>
                <c:pt idx="114">
                  <c:v>661</c:v>
                </c:pt>
                <c:pt idx="115">
                  <c:v>164</c:v>
                </c:pt>
                <c:pt idx="116">
                  <c:v>115</c:v>
                </c:pt>
                <c:pt idx="117">
                  <c:v>535</c:v>
                </c:pt>
                <c:pt idx="118">
                  <c:v>577</c:v>
                </c:pt>
                <c:pt idx="119">
                  <c:v>642</c:v>
                </c:pt>
                <c:pt idx="120">
                  <c:v>682</c:v>
                </c:pt>
                <c:pt idx="121">
                  <c:v>514</c:v>
                </c:pt>
                <c:pt idx="122">
                  <c:v>133</c:v>
                </c:pt>
                <c:pt idx="123">
                  <c:v>148</c:v>
                </c:pt>
                <c:pt idx="124">
                  <c:v>511</c:v>
                </c:pt>
                <c:pt idx="125">
                  <c:v>625</c:v>
                </c:pt>
                <c:pt idx="126">
                  <c:v>683</c:v>
                </c:pt>
                <c:pt idx="127">
                  <c:v>772</c:v>
                </c:pt>
                <c:pt idx="128">
                  <c:v>620</c:v>
                </c:pt>
                <c:pt idx="129">
                  <c:v>174</c:v>
                </c:pt>
                <c:pt idx="130">
                  <c:v>126</c:v>
                </c:pt>
                <c:pt idx="131">
                  <c:v>505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A-F267-42C6-AC42-927B0F02AEC7}"/>
            </c:ext>
          </c:extLst>
        </c:ser>
        <c:ser>
          <c:idx val="14"/>
          <c:order val="14"/>
          <c:tx>
            <c:strRef>
              <c:f>List1!$P$1</c:f>
              <c:strCache>
                <c:ptCount val="1"/>
                <c:pt idx="0">
                  <c:v>18 85+</c:v>
                </c:pt>
              </c:strCache>
            </c:strRef>
          </c:tx>
          <c:spPr>
            <a:solidFill>
              <a:schemeClr val="accent3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P$5:$P$187</c:f>
              <c:numCache>
                <c:formatCode>General</c:formatCode>
                <c:ptCount val="183"/>
                <c:pt idx="0">
                  <c:v>133</c:v>
                </c:pt>
                <c:pt idx="1">
                  <c:v>84</c:v>
                </c:pt>
                <c:pt idx="2">
                  <c:v>0</c:v>
                </c:pt>
                <c:pt idx="3">
                  <c:v>5</c:v>
                </c:pt>
                <c:pt idx="4">
                  <c:v>3</c:v>
                </c:pt>
                <c:pt idx="5">
                  <c:v>13</c:v>
                </c:pt>
                <c:pt idx="6">
                  <c:v>21</c:v>
                </c:pt>
                <c:pt idx="7">
                  <c:v>29</c:v>
                </c:pt>
                <c:pt idx="8">
                  <c:v>272</c:v>
                </c:pt>
                <c:pt idx="9">
                  <c:v>630</c:v>
                </c:pt>
                <c:pt idx="10">
                  <c:v>114</c:v>
                </c:pt>
                <c:pt idx="11">
                  <c:v>63</c:v>
                </c:pt>
                <c:pt idx="12">
                  <c:v>455</c:v>
                </c:pt>
                <c:pt idx="13">
                  <c:v>1179</c:v>
                </c:pt>
                <c:pt idx="14">
                  <c:v>1118</c:v>
                </c:pt>
                <c:pt idx="15">
                  <c:v>1458</c:v>
                </c:pt>
                <c:pt idx="16">
                  <c:v>1420</c:v>
                </c:pt>
                <c:pt idx="17">
                  <c:v>772</c:v>
                </c:pt>
                <c:pt idx="18">
                  <c:v>791</c:v>
                </c:pt>
                <c:pt idx="19">
                  <c:v>2159</c:v>
                </c:pt>
                <c:pt idx="20">
                  <c:v>2606</c:v>
                </c:pt>
                <c:pt idx="21">
                  <c:v>3115</c:v>
                </c:pt>
                <c:pt idx="22">
                  <c:v>3859</c:v>
                </c:pt>
                <c:pt idx="23">
                  <c:v>3904</c:v>
                </c:pt>
                <c:pt idx="24">
                  <c:v>1131</c:v>
                </c:pt>
                <c:pt idx="25">
                  <c:v>819</c:v>
                </c:pt>
                <c:pt idx="26">
                  <c:v>3139</c:v>
                </c:pt>
                <c:pt idx="27">
                  <c:v>3533</c:v>
                </c:pt>
                <c:pt idx="28">
                  <c:v>2916</c:v>
                </c:pt>
                <c:pt idx="29">
                  <c:v>2149</c:v>
                </c:pt>
                <c:pt idx="30">
                  <c:v>1884</c:v>
                </c:pt>
                <c:pt idx="31">
                  <c:v>243</c:v>
                </c:pt>
                <c:pt idx="32">
                  <c:v>298</c:v>
                </c:pt>
                <c:pt idx="33">
                  <c:v>1077</c:v>
                </c:pt>
                <c:pt idx="34">
                  <c:v>1288</c:v>
                </c:pt>
                <c:pt idx="35">
                  <c:v>1389</c:v>
                </c:pt>
                <c:pt idx="36">
                  <c:v>1681</c:v>
                </c:pt>
                <c:pt idx="37">
                  <c:v>1884</c:v>
                </c:pt>
                <c:pt idx="38">
                  <c:v>367</c:v>
                </c:pt>
                <c:pt idx="39">
                  <c:v>357</c:v>
                </c:pt>
                <c:pt idx="40">
                  <c:v>1405</c:v>
                </c:pt>
                <c:pt idx="41">
                  <c:v>1786</c:v>
                </c:pt>
                <c:pt idx="42">
                  <c:v>1871</c:v>
                </c:pt>
                <c:pt idx="43">
                  <c:v>1745</c:v>
                </c:pt>
                <c:pt idx="44">
                  <c:v>2025</c:v>
                </c:pt>
                <c:pt idx="45">
                  <c:v>459</c:v>
                </c:pt>
                <c:pt idx="46">
                  <c:v>348</c:v>
                </c:pt>
                <c:pt idx="47">
                  <c:v>2062</c:v>
                </c:pt>
                <c:pt idx="48">
                  <c:v>2992</c:v>
                </c:pt>
                <c:pt idx="49">
                  <c:v>2930</c:v>
                </c:pt>
                <c:pt idx="50">
                  <c:v>3919</c:v>
                </c:pt>
                <c:pt idx="51">
                  <c:v>3458</c:v>
                </c:pt>
                <c:pt idx="52">
                  <c:v>634</c:v>
                </c:pt>
                <c:pt idx="53">
                  <c:v>430</c:v>
                </c:pt>
                <c:pt idx="54">
                  <c:v>2862</c:v>
                </c:pt>
                <c:pt idx="55">
                  <c:v>3151</c:v>
                </c:pt>
                <c:pt idx="56">
                  <c:v>2575</c:v>
                </c:pt>
                <c:pt idx="57">
                  <c:v>2905</c:v>
                </c:pt>
                <c:pt idx="58">
                  <c:v>2781</c:v>
                </c:pt>
                <c:pt idx="59">
                  <c:v>672</c:v>
                </c:pt>
                <c:pt idx="60">
                  <c:v>411</c:v>
                </c:pt>
                <c:pt idx="61">
                  <c:v>2328</c:v>
                </c:pt>
                <c:pt idx="62">
                  <c:v>2254</c:v>
                </c:pt>
                <c:pt idx="63">
                  <c:v>2559</c:v>
                </c:pt>
                <c:pt idx="64">
                  <c:v>2573</c:v>
                </c:pt>
                <c:pt idx="65">
                  <c:v>2066</c:v>
                </c:pt>
                <c:pt idx="66">
                  <c:v>542</c:v>
                </c:pt>
                <c:pt idx="67">
                  <c:v>374</c:v>
                </c:pt>
                <c:pt idx="68">
                  <c:v>1572</c:v>
                </c:pt>
                <c:pt idx="69">
                  <c:v>1822</c:v>
                </c:pt>
                <c:pt idx="70">
                  <c:v>2200</c:v>
                </c:pt>
                <c:pt idx="71">
                  <c:v>2180</c:v>
                </c:pt>
                <c:pt idx="72">
                  <c:v>1469</c:v>
                </c:pt>
                <c:pt idx="73">
                  <c:v>445</c:v>
                </c:pt>
                <c:pt idx="74">
                  <c:v>308</c:v>
                </c:pt>
                <c:pt idx="75">
                  <c:v>884</c:v>
                </c:pt>
                <c:pt idx="76">
                  <c:v>1244</c:v>
                </c:pt>
                <c:pt idx="77">
                  <c:v>1154</c:v>
                </c:pt>
                <c:pt idx="78">
                  <c:v>1288</c:v>
                </c:pt>
                <c:pt idx="79">
                  <c:v>1162</c:v>
                </c:pt>
                <c:pt idx="80">
                  <c:v>337</c:v>
                </c:pt>
                <c:pt idx="81">
                  <c:v>162</c:v>
                </c:pt>
                <c:pt idx="82">
                  <c:v>716</c:v>
                </c:pt>
                <c:pt idx="83">
                  <c:v>817</c:v>
                </c:pt>
                <c:pt idx="84">
                  <c:v>830</c:v>
                </c:pt>
                <c:pt idx="85">
                  <c:v>992</c:v>
                </c:pt>
                <c:pt idx="86">
                  <c:v>847</c:v>
                </c:pt>
                <c:pt idx="87">
                  <c:v>183</c:v>
                </c:pt>
                <c:pt idx="88">
                  <c:v>100</c:v>
                </c:pt>
                <c:pt idx="89">
                  <c:v>622</c:v>
                </c:pt>
                <c:pt idx="90">
                  <c:v>951</c:v>
                </c:pt>
                <c:pt idx="91">
                  <c:v>912</c:v>
                </c:pt>
                <c:pt idx="92">
                  <c:v>906</c:v>
                </c:pt>
                <c:pt idx="93">
                  <c:v>245</c:v>
                </c:pt>
                <c:pt idx="94">
                  <c:v>91</c:v>
                </c:pt>
                <c:pt idx="95">
                  <c:v>60</c:v>
                </c:pt>
                <c:pt idx="96">
                  <c:v>51</c:v>
                </c:pt>
                <c:pt idx="97">
                  <c:v>547</c:v>
                </c:pt>
                <c:pt idx="98">
                  <c:v>824</c:v>
                </c:pt>
                <c:pt idx="99">
                  <c:v>1274</c:v>
                </c:pt>
                <c:pt idx="100">
                  <c:v>998</c:v>
                </c:pt>
                <c:pt idx="101">
                  <c:v>287</c:v>
                </c:pt>
                <c:pt idx="102">
                  <c:v>152</c:v>
                </c:pt>
                <c:pt idx="103">
                  <c:v>711</c:v>
                </c:pt>
                <c:pt idx="104">
                  <c:v>778</c:v>
                </c:pt>
                <c:pt idx="105">
                  <c:v>634</c:v>
                </c:pt>
                <c:pt idx="106">
                  <c:v>805</c:v>
                </c:pt>
                <c:pt idx="107">
                  <c:v>533</c:v>
                </c:pt>
                <c:pt idx="108">
                  <c:v>107</c:v>
                </c:pt>
                <c:pt idx="109">
                  <c:v>108</c:v>
                </c:pt>
                <c:pt idx="110">
                  <c:v>391</c:v>
                </c:pt>
                <c:pt idx="111">
                  <c:v>487</c:v>
                </c:pt>
                <c:pt idx="112">
                  <c:v>513</c:v>
                </c:pt>
                <c:pt idx="113">
                  <c:v>647</c:v>
                </c:pt>
                <c:pt idx="114">
                  <c:v>462</c:v>
                </c:pt>
                <c:pt idx="115">
                  <c:v>112</c:v>
                </c:pt>
                <c:pt idx="116">
                  <c:v>75</c:v>
                </c:pt>
                <c:pt idx="117">
                  <c:v>358</c:v>
                </c:pt>
                <c:pt idx="118">
                  <c:v>440</c:v>
                </c:pt>
                <c:pt idx="119">
                  <c:v>443</c:v>
                </c:pt>
                <c:pt idx="120">
                  <c:v>504</c:v>
                </c:pt>
                <c:pt idx="121">
                  <c:v>334</c:v>
                </c:pt>
                <c:pt idx="122">
                  <c:v>79</c:v>
                </c:pt>
                <c:pt idx="123">
                  <c:v>84</c:v>
                </c:pt>
                <c:pt idx="124">
                  <c:v>336</c:v>
                </c:pt>
                <c:pt idx="125">
                  <c:v>412</c:v>
                </c:pt>
                <c:pt idx="126">
                  <c:v>432</c:v>
                </c:pt>
                <c:pt idx="127">
                  <c:v>587</c:v>
                </c:pt>
                <c:pt idx="128">
                  <c:v>380</c:v>
                </c:pt>
                <c:pt idx="129">
                  <c:v>99</c:v>
                </c:pt>
                <c:pt idx="130">
                  <c:v>71</c:v>
                </c:pt>
                <c:pt idx="131">
                  <c:v>350</c:v>
                </c:pt>
                <c:pt idx="132">
                  <c:v>433</c:v>
                </c:pt>
                <c:pt idx="133">
                  <c:v>433</c:v>
                </c:pt>
                <c:pt idx="134">
                  <c:v>433</c:v>
                </c:pt>
                <c:pt idx="135">
                  <c:v>433</c:v>
                </c:pt>
                <c:pt idx="136">
                  <c:v>433</c:v>
                </c:pt>
                <c:pt idx="137">
                  <c:v>433</c:v>
                </c:pt>
                <c:pt idx="138">
                  <c:v>433</c:v>
                </c:pt>
                <c:pt idx="139">
                  <c:v>433</c:v>
                </c:pt>
                <c:pt idx="140">
                  <c:v>433</c:v>
                </c:pt>
                <c:pt idx="141">
                  <c:v>433</c:v>
                </c:pt>
                <c:pt idx="142">
                  <c:v>433</c:v>
                </c:pt>
                <c:pt idx="143">
                  <c:v>433</c:v>
                </c:pt>
                <c:pt idx="144">
                  <c:v>433</c:v>
                </c:pt>
                <c:pt idx="145">
                  <c:v>433</c:v>
                </c:pt>
                <c:pt idx="146">
                  <c:v>433</c:v>
                </c:pt>
                <c:pt idx="147">
                  <c:v>433</c:v>
                </c:pt>
                <c:pt idx="148">
                  <c:v>433</c:v>
                </c:pt>
                <c:pt idx="149">
                  <c:v>433</c:v>
                </c:pt>
                <c:pt idx="150">
                  <c:v>433</c:v>
                </c:pt>
                <c:pt idx="151">
                  <c:v>433</c:v>
                </c:pt>
                <c:pt idx="152">
                  <c:v>433</c:v>
                </c:pt>
                <c:pt idx="153">
                  <c:v>145</c:v>
                </c:pt>
                <c:pt idx="154">
                  <c:v>145</c:v>
                </c:pt>
                <c:pt idx="155">
                  <c:v>145</c:v>
                </c:pt>
                <c:pt idx="156">
                  <c:v>145</c:v>
                </c:pt>
                <c:pt idx="157">
                  <c:v>145</c:v>
                </c:pt>
                <c:pt idx="158">
                  <c:v>145</c:v>
                </c:pt>
                <c:pt idx="159">
                  <c:v>145</c:v>
                </c:pt>
                <c:pt idx="160">
                  <c:v>145</c:v>
                </c:pt>
                <c:pt idx="161">
                  <c:v>145</c:v>
                </c:pt>
                <c:pt idx="162">
                  <c:v>145</c:v>
                </c:pt>
                <c:pt idx="163">
                  <c:v>145</c:v>
                </c:pt>
                <c:pt idx="164">
                  <c:v>145</c:v>
                </c:pt>
                <c:pt idx="165">
                  <c:v>145</c:v>
                </c:pt>
                <c:pt idx="166">
                  <c:v>145</c:v>
                </c:pt>
                <c:pt idx="167">
                  <c:v>145</c:v>
                </c:pt>
                <c:pt idx="168">
                  <c:v>145</c:v>
                </c:pt>
                <c:pt idx="169">
                  <c:v>145</c:v>
                </c:pt>
                <c:pt idx="170">
                  <c:v>145</c:v>
                </c:pt>
                <c:pt idx="171">
                  <c:v>145</c:v>
                </c:pt>
                <c:pt idx="172">
                  <c:v>145</c:v>
                </c:pt>
                <c:pt idx="173">
                  <c:v>145</c:v>
                </c:pt>
                <c:pt idx="174">
                  <c:v>145</c:v>
                </c:pt>
                <c:pt idx="175">
                  <c:v>145</c:v>
                </c:pt>
                <c:pt idx="176">
                  <c:v>145</c:v>
                </c:pt>
                <c:pt idx="177">
                  <c:v>145</c:v>
                </c:pt>
                <c:pt idx="178">
                  <c:v>145</c:v>
                </c:pt>
                <c:pt idx="179">
                  <c:v>145</c:v>
                </c:pt>
                <c:pt idx="180">
                  <c:v>145</c:v>
                </c:pt>
                <c:pt idx="181">
                  <c:v>145</c:v>
                </c:pt>
                <c:pt idx="182">
                  <c:v>1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B-F267-42C6-AC42-927B0F02AE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831664431"/>
        <c:axId val="711924943"/>
      </c:barChart>
      <c:dateAx>
        <c:axId val="83166443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11924943"/>
        <c:crosses val="autoZero"/>
        <c:auto val="1"/>
        <c:lblOffset val="100"/>
        <c:baseTimeUnit val="days"/>
      </c:dateAx>
      <c:valAx>
        <c:axId val="711924943"/>
        <c:scaling>
          <c:orientation val="minMax"/>
          <c:max val="14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3166443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94072247296032108"/>
          <c:y val="3.3915582154437109E-2"/>
          <c:w val="5.2695597959187372E-2"/>
          <c:h val="0.8913624188649099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900"/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4 15-19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B$5:$B$187</c:f>
              <c:numCache>
                <c:formatCode>General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</c:v>
                </c:pt>
                <c:pt idx="19">
                  <c:v>1</c:v>
                </c:pt>
                <c:pt idx="20">
                  <c:v>3</c:v>
                </c:pt>
                <c:pt idx="21">
                  <c:v>1</c:v>
                </c:pt>
                <c:pt idx="22">
                  <c:v>3</c:v>
                </c:pt>
                <c:pt idx="23">
                  <c:v>2</c:v>
                </c:pt>
                <c:pt idx="24">
                  <c:v>0</c:v>
                </c:pt>
                <c:pt idx="25">
                  <c:v>0</c:v>
                </c:pt>
                <c:pt idx="26">
                  <c:v>5</c:v>
                </c:pt>
                <c:pt idx="27">
                  <c:v>6</c:v>
                </c:pt>
                <c:pt idx="28">
                  <c:v>17</c:v>
                </c:pt>
                <c:pt idx="29">
                  <c:v>11</c:v>
                </c:pt>
                <c:pt idx="30">
                  <c:v>20</c:v>
                </c:pt>
                <c:pt idx="31">
                  <c:v>2</c:v>
                </c:pt>
                <c:pt idx="32">
                  <c:v>2</c:v>
                </c:pt>
                <c:pt idx="33">
                  <c:v>16</c:v>
                </c:pt>
                <c:pt idx="34">
                  <c:v>29</c:v>
                </c:pt>
                <c:pt idx="35">
                  <c:v>33</c:v>
                </c:pt>
                <c:pt idx="36">
                  <c:v>37</c:v>
                </c:pt>
                <c:pt idx="37">
                  <c:v>43</c:v>
                </c:pt>
                <c:pt idx="38">
                  <c:v>3</c:v>
                </c:pt>
                <c:pt idx="39">
                  <c:v>8</c:v>
                </c:pt>
                <c:pt idx="40">
                  <c:v>33</c:v>
                </c:pt>
                <c:pt idx="41">
                  <c:v>43</c:v>
                </c:pt>
                <c:pt idx="42">
                  <c:v>22</c:v>
                </c:pt>
                <c:pt idx="43">
                  <c:v>35</c:v>
                </c:pt>
                <c:pt idx="44">
                  <c:v>33</c:v>
                </c:pt>
                <c:pt idx="45">
                  <c:v>2</c:v>
                </c:pt>
                <c:pt idx="46">
                  <c:v>1</c:v>
                </c:pt>
                <c:pt idx="47">
                  <c:v>14</c:v>
                </c:pt>
                <c:pt idx="48">
                  <c:v>28</c:v>
                </c:pt>
                <c:pt idx="49">
                  <c:v>30</c:v>
                </c:pt>
                <c:pt idx="50">
                  <c:v>15</c:v>
                </c:pt>
                <c:pt idx="51">
                  <c:v>6</c:v>
                </c:pt>
                <c:pt idx="52">
                  <c:v>0</c:v>
                </c:pt>
                <c:pt idx="53">
                  <c:v>0</c:v>
                </c:pt>
                <c:pt idx="54">
                  <c:v>6</c:v>
                </c:pt>
                <c:pt idx="55">
                  <c:v>14</c:v>
                </c:pt>
                <c:pt idx="56">
                  <c:v>5</c:v>
                </c:pt>
                <c:pt idx="57">
                  <c:v>16</c:v>
                </c:pt>
                <c:pt idx="58">
                  <c:v>12</c:v>
                </c:pt>
                <c:pt idx="59">
                  <c:v>0</c:v>
                </c:pt>
                <c:pt idx="60">
                  <c:v>1</c:v>
                </c:pt>
                <c:pt idx="61">
                  <c:v>5</c:v>
                </c:pt>
                <c:pt idx="62">
                  <c:v>4</c:v>
                </c:pt>
                <c:pt idx="63">
                  <c:v>10</c:v>
                </c:pt>
                <c:pt idx="64">
                  <c:v>11</c:v>
                </c:pt>
                <c:pt idx="65">
                  <c:v>11</c:v>
                </c:pt>
                <c:pt idx="66">
                  <c:v>0</c:v>
                </c:pt>
                <c:pt idx="67">
                  <c:v>1</c:v>
                </c:pt>
                <c:pt idx="68">
                  <c:v>7</c:v>
                </c:pt>
                <c:pt idx="69">
                  <c:v>13</c:v>
                </c:pt>
                <c:pt idx="70">
                  <c:v>14</c:v>
                </c:pt>
                <c:pt idx="71">
                  <c:v>25</c:v>
                </c:pt>
                <c:pt idx="72">
                  <c:v>20</c:v>
                </c:pt>
                <c:pt idx="73">
                  <c:v>5</c:v>
                </c:pt>
                <c:pt idx="74">
                  <c:v>1</c:v>
                </c:pt>
                <c:pt idx="75">
                  <c:v>15</c:v>
                </c:pt>
                <c:pt idx="76">
                  <c:v>16</c:v>
                </c:pt>
                <c:pt idx="77">
                  <c:v>12</c:v>
                </c:pt>
                <c:pt idx="78">
                  <c:v>27</c:v>
                </c:pt>
                <c:pt idx="79">
                  <c:v>90</c:v>
                </c:pt>
                <c:pt idx="80">
                  <c:v>42</c:v>
                </c:pt>
                <c:pt idx="81">
                  <c:v>2</c:v>
                </c:pt>
                <c:pt idx="82">
                  <c:v>17</c:v>
                </c:pt>
                <c:pt idx="83">
                  <c:v>11</c:v>
                </c:pt>
                <c:pt idx="84">
                  <c:v>14</c:v>
                </c:pt>
                <c:pt idx="85">
                  <c:v>21</c:v>
                </c:pt>
                <c:pt idx="86">
                  <c:v>22</c:v>
                </c:pt>
                <c:pt idx="87">
                  <c:v>10</c:v>
                </c:pt>
                <c:pt idx="88">
                  <c:v>4</c:v>
                </c:pt>
                <c:pt idx="89">
                  <c:v>18</c:v>
                </c:pt>
                <c:pt idx="90">
                  <c:v>101</c:v>
                </c:pt>
                <c:pt idx="91">
                  <c:v>37</c:v>
                </c:pt>
                <c:pt idx="92">
                  <c:v>38</c:v>
                </c:pt>
                <c:pt idx="93">
                  <c:v>23</c:v>
                </c:pt>
                <c:pt idx="94">
                  <c:v>18</c:v>
                </c:pt>
                <c:pt idx="95">
                  <c:v>12</c:v>
                </c:pt>
                <c:pt idx="96">
                  <c:v>16</c:v>
                </c:pt>
                <c:pt idx="97">
                  <c:v>90</c:v>
                </c:pt>
                <c:pt idx="98">
                  <c:v>72</c:v>
                </c:pt>
                <c:pt idx="99">
                  <c:v>70</c:v>
                </c:pt>
                <c:pt idx="100">
                  <c:v>118</c:v>
                </c:pt>
                <c:pt idx="101">
                  <c:v>55</c:v>
                </c:pt>
                <c:pt idx="102">
                  <c:v>25</c:v>
                </c:pt>
                <c:pt idx="103">
                  <c:v>56</c:v>
                </c:pt>
                <c:pt idx="104">
                  <c:v>42</c:v>
                </c:pt>
                <c:pt idx="105">
                  <c:v>38</c:v>
                </c:pt>
                <c:pt idx="106">
                  <c:v>56</c:v>
                </c:pt>
                <c:pt idx="107">
                  <c:v>128</c:v>
                </c:pt>
                <c:pt idx="108">
                  <c:v>22</c:v>
                </c:pt>
                <c:pt idx="109">
                  <c:v>9</c:v>
                </c:pt>
                <c:pt idx="110">
                  <c:v>39</c:v>
                </c:pt>
                <c:pt idx="111">
                  <c:v>37</c:v>
                </c:pt>
                <c:pt idx="112">
                  <c:v>42</c:v>
                </c:pt>
                <c:pt idx="113">
                  <c:v>29</c:v>
                </c:pt>
                <c:pt idx="114">
                  <c:v>57</c:v>
                </c:pt>
                <c:pt idx="115">
                  <c:v>9</c:v>
                </c:pt>
                <c:pt idx="116">
                  <c:v>11</c:v>
                </c:pt>
                <c:pt idx="117">
                  <c:v>22</c:v>
                </c:pt>
                <c:pt idx="118">
                  <c:v>24</c:v>
                </c:pt>
                <c:pt idx="119">
                  <c:v>35</c:v>
                </c:pt>
                <c:pt idx="120">
                  <c:v>24</c:v>
                </c:pt>
                <c:pt idx="121">
                  <c:v>36</c:v>
                </c:pt>
                <c:pt idx="122">
                  <c:v>12</c:v>
                </c:pt>
                <c:pt idx="123">
                  <c:v>10</c:v>
                </c:pt>
                <c:pt idx="124">
                  <c:v>18</c:v>
                </c:pt>
                <c:pt idx="125">
                  <c:v>17</c:v>
                </c:pt>
                <c:pt idx="126">
                  <c:v>27</c:v>
                </c:pt>
                <c:pt idx="127">
                  <c:v>18</c:v>
                </c:pt>
                <c:pt idx="128">
                  <c:v>41</c:v>
                </c:pt>
                <c:pt idx="129">
                  <c:v>1</c:v>
                </c:pt>
                <c:pt idx="130">
                  <c:v>1</c:v>
                </c:pt>
                <c:pt idx="131">
                  <c:v>17</c:v>
                </c:pt>
                <c:pt idx="132">
                  <c:v>49</c:v>
                </c:pt>
                <c:pt idx="133">
                  <c:v>54</c:v>
                </c:pt>
                <c:pt idx="134">
                  <c:v>50</c:v>
                </c:pt>
                <c:pt idx="135">
                  <c:v>29</c:v>
                </c:pt>
                <c:pt idx="136">
                  <c:v>22</c:v>
                </c:pt>
                <c:pt idx="137">
                  <c:v>16</c:v>
                </c:pt>
                <c:pt idx="138">
                  <c:v>19</c:v>
                </c:pt>
                <c:pt idx="139">
                  <c:v>33</c:v>
                </c:pt>
                <c:pt idx="140">
                  <c:v>45</c:v>
                </c:pt>
                <c:pt idx="141">
                  <c:v>77</c:v>
                </c:pt>
                <c:pt idx="142">
                  <c:v>93</c:v>
                </c:pt>
                <c:pt idx="143">
                  <c:v>36</c:v>
                </c:pt>
                <c:pt idx="144">
                  <c:v>41</c:v>
                </c:pt>
                <c:pt idx="145">
                  <c:v>87</c:v>
                </c:pt>
                <c:pt idx="146">
                  <c:v>80</c:v>
                </c:pt>
                <c:pt idx="147">
                  <c:v>68</c:v>
                </c:pt>
                <c:pt idx="148">
                  <c:v>125</c:v>
                </c:pt>
                <c:pt idx="149">
                  <c:v>116</c:v>
                </c:pt>
                <c:pt idx="150">
                  <c:v>46</c:v>
                </c:pt>
                <c:pt idx="151">
                  <c:v>36</c:v>
                </c:pt>
                <c:pt idx="152">
                  <c:v>134</c:v>
                </c:pt>
                <c:pt idx="153">
                  <c:v>2455</c:v>
                </c:pt>
                <c:pt idx="154">
                  <c:v>2503</c:v>
                </c:pt>
                <c:pt idx="155">
                  <c:v>2542</c:v>
                </c:pt>
                <c:pt idx="156">
                  <c:v>2557</c:v>
                </c:pt>
                <c:pt idx="157">
                  <c:v>2475</c:v>
                </c:pt>
                <c:pt idx="158">
                  <c:v>2436</c:v>
                </c:pt>
                <c:pt idx="159">
                  <c:v>2497</c:v>
                </c:pt>
                <c:pt idx="160">
                  <c:v>2481</c:v>
                </c:pt>
                <c:pt idx="161">
                  <c:v>2508</c:v>
                </c:pt>
                <c:pt idx="162">
                  <c:v>2488</c:v>
                </c:pt>
                <c:pt idx="163">
                  <c:v>2552</c:v>
                </c:pt>
                <c:pt idx="164">
                  <c:v>2423</c:v>
                </c:pt>
                <c:pt idx="165">
                  <c:v>2433</c:v>
                </c:pt>
                <c:pt idx="166">
                  <c:v>2520</c:v>
                </c:pt>
                <c:pt idx="167">
                  <c:v>2517</c:v>
                </c:pt>
                <c:pt idx="168">
                  <c:v>2573</c:v>
                </c:pt>
                <c:pt idx="169">
                  <c:v>2526</c:v>
                </c:pt>
                <c:pt idx="170">
                  <c:v>2607</c:v>
                </c:pt>
                <c:pt idx="171">
                  <c:v>2466</c:v>
                </c:pt>
                <c:pt idx="172">
                  <c:v>2430</c:v>
                </c:pt>
                <c:pt idx="173">
                  <c:v>2529</c:v>
                </c:pt>
                <c:pt idx="174">
                  <c:v>2543</c:v>
                </c:pt>
                <c:pt idx="175">
                  <c:v>2540</c:v>
                </c:pt>
                <c:pt idx="176">
                  <c:v>2542</c:v>
                </c:pt>
                <c:pt idx="177">
                  <c:v>2544</c:v>
                </c:pt>
                <c:pt idx="178">
                  <c:v>2539</c:v>
                </c:pt>
                <c:pt idx="179">
                  <c:v>2539</c:v>
                </c:pt>
                <c:pt idx="180">
                  <c:v>2540</c:v>
                </c:pt>
                <c:pt idx="181">
                  <c:v>2540</c:v>
                </c:pt>
                <c:pt idx="182">
                  <c:v>25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D85-47C2-92CB-D22E4A4C65D5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5 20-24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C$5:$C$187</c:f>
              <c:numCache>
                <c:formatCode>General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23</c:v>
                </c:pt>
                <c:pt idx="19">
                  <c:v>66</c:v>
                </c:pt>
                <c:pt idx="20">
                  <c:v>76</c:v>
                </c:pt>
                <c:pt idx="21">
                  <c:v>75</c:v>
                </c:pt>
                <c:pt idx="22">
                  <c:v>56</c:v>
                </c:pt>
                <c:pt idx="23">
                  <c:v>26</c:v>
                </c:pt>
                <c:pt idx="24">
                  <c:v>24</c:v>
                </c:pt>
                <c:pt idx="25">
                  <c:v>28</c:v>
                </c:pt>
                <c:pt idx="26">
                  <c:v>80</c:v>
                </c:pt>
                <c:pt idx="27">
                  <c:v>97</c:v>
                </c:pt>
                <c:pt idx="28">
                  <c:v>104</c:v>
                </c:pt>
                <c:pt idx="29">
                  <c:v>158</c:v>
                </c:pt>
                <c:pt idx="30">
                  <c:v>199</c:v>
                </c:pt>
                <c:pt idx="31">
                  <c:v>27</c:v>
                </c:pt>
                <c:pt idx="32">
                  <c:v>35</c:v>
                </c:pt>
                <c:pt idx="33">
                  <c:v>256</c:v>
                </c:pt>
                <c:pt idx="34">
                  <c:v>307</c:v>
                </c:pt>
                <c:pt idx="35">
                  <c:v>287</c:v>
                </c:pt>
                <c:pt idx="36">
                  <c:v>358</c:v>
                </c:pt>
                <c:pt idx="37">
                  <c:v>291</c:v>
                </c:pt>
                <c:pt idx="38">
                  <c:v>35</c:v>
                </c:pt>
                <c:pt idx="39">
                  <c:v>42</c:v>
                </c:pt>
                <c:pt idx="40">
                  <c:v>277</c:v>
                </c:pt>
                <c:pt idx="41">
                  <c:v>189</c:v>
                </c:pt>
                <c:pt idx="42">
                  <c:v>186</c:v>
                </c:pt>
                <c:pt idx="43">
                  <c:v>186</c:v>
                </c:pt>
                <c:pt idx="44">
                  <c:v>196</c:v>
                </c:pt>
                <c:pt idx="45">
                  <c:v>33</c:v>
                </c:pt>
                <c:pt idx="46">
                  <c:v>4</c:v>
                </c:pt>
                <c:pt idx="47">
                  <c:v>134</c:v>
                </c:pt>
                <c:pt idx="48">
                  <c:v>156</c:v>
                </c:pt>
                <c:pt idx="49">
                  <c:v>116</c:v>
                </c:pt>
                <c:pt idx="50">
                  <c:v>109</c:v>
                </c:pt>
                <c:pt idx="51">
                  <c:v>93</c:v>
                </c:pt>
                <c:pt idx="52">
                  <c:v>2</c:v>
                </c:pt>
                <c:pt idx="53">
                  <c:v>4</c:v>
                </c:pt>
                <c:pt idx="54">
                  <c:v>99</c:v>
                </c:pt>
                <c:pt idx="55">
                  <c:v>79</c:v>
                </c:pt>
                <c:pt idx="56">
                  <c:v>69</c:v>
                </c:pt>
                <c:pt idx="57">
                  <c:v>90</c:v>
                </c:pt>
                <c:pt idx="58">
                  <c:v>70</c:v>
                </c:pt>
                <c:pt idx="59">
                  <c:v>2</c:v>
                </c:pt>
                <c:pt idx="60">
                  <c:v>2</c:v>
                </c:pt>
                <c:pt idx="61">
                  <c:v>46</c:v>
                </c:pt>
                <c:pt idx="62">
                  <c:v>35</c:v>
                </c:pt>
                <c:pt idx="63">
                  <c:v>51</c:v>
                </c:pt>
                <c:pt idx="64">
                  <c:v>53</c:v>
                </c:pt>
                <c:pt idx="65">
                  <c:v>69</c:v>
                </c:pt>
                <c:pt idx="66">
                  <c:v>9</c:v>
                </c:pt>
                <c:pt idx="67">
                  <c:v>5</c:v>
                </c:pt>
                <c:pt idx="68">
                  <c:v>58</c:v>
                </c:pt>
                <c:pt idx="69">
                  <c:v>64</c:v>
                </c:pt>
                <c:pt idx="70">
                  <c:v>99</c:v>
                </c:pt>
                <c:pt idx="71">
                  <c:v>119</c:v>
                </c:pt>
                <c:pt idx="72">
                  <c:v>127</c:v>
                </c:pt>
                <c:pt idx="73">
                  <c:v>11</c:v>
                </c:pt>
                <c:pt idx="74">
                  <c:v>11</c:v>
                </c:pt>
                <c:pt idx="75">
                  <c:v>125</c:v>
                </c:pt>
                <c:pt idx="76">
                  <c:v>138</c:v>
                </c:pt>
                <c:pt idx="77">
                  <c:v>155</c:v>
                </c:pt>
                <c:pt idx="78">
                  <c:v>160</c:v>
                </c:pt>
                <c:pt idx="79">
                  <c:v>198</c:v>
                </c:pt>
                <c:pt idx="80">
                  <c:v>25</c:v>
                </c:pt>
                <c:pt idx="81">
                  <c:v>13</c:v>
                </c:pt>
                <c:pt idx="82">
                  <c:v>138</c:v>
                </c:pt>
                <c:pt idx="83">
                  <c:v>166</c:v>
                </c:pt>
                <c:pt idx="84">
                  <c:v>141</c:v>
                </c:pt>
                <c:pt idx="85">
                  <c:v>155</c:v>
                </c:pt>
                <c:pt idx="86">
                  <c:v>209</c:v>
                </c:pt>
                <c:pt idx="87">
                  <c:v>44</c:v>
                </c:pt>
                <c:pt idx="88">
                  <c:v>48</c:v>
                </c:pt>
                <c:pt idx="89">
                  <c:v>198</c:v>
                </c:pt>
                <c:pt idx="90">
                  <c:v>254</c:v>
                </c:pt>
                <c:pt idx="91">
                  <c:v>390</c:v>
                </c:pt>
                <c:pt idx="92">
                  <c:v>435</c:v>
                </c:pt>
                <c:pt idx="93">
                  <c:v>109</c:v>
                </c:pt>
                <c:pt idx="94">
                  <c:v>150</c:v>
                </c:pt>
                <c:pt idx="95">
                  <c:v>86</c:v>
                </c:pt>
                <c:pt idx="96">
                  <c:v>73</c:v>
                </c:pt>
                <c:pt idx="97">
                  <c:v>551</c:v>
                </c:pt>
                <c:pt idx="98">
                  <c:v>303</c:v>
                </c:pt>
                <c:pt idx="99">
                  <c:v>360</c:v>
                </c:pt>
                <c:pt idx="100">
                  <c:v>421</c:v>
                </c:pt>
                <c:pt idx="101">
                  <c:v>169</c:v>
                </c:pt>
                <c:pt idx="102">
                  <c:v>105</c:v>
                </c:pt>
                <c:pt idx="103">
                  <c:v>262</c:v>
                </c:pt>
                <c:pt idx="104">
                  <c:v>287</c:v>
                </c:pt>
                <c:pt idx="105">
                  <c:v>268</c:v>
                </c:pt>
                <c:pt idx="106">
                  <c:v>265</c:v>
                </c:pt>
                <c:pt idx="107">
                  <c:v>336</c:v>
                </c:pt>
                <c:pt idx="108">
                  <c:v>117</c:v>
                </c:pt>
                <c:pt idx="109">
                  <c:v>51</c:v>
                </c:pt>
                <c:pt idx="110">
                  <c:v>184</c:v>
                </c:pt>
                <c:pt idx="111">
                  <c:v>194</c:v>
                </c:pt>
                <c:pt idx="112">
                  <c:v>229</c:v>
                </c:pt>
                <c:pt idx="113">
                  <c:v>280</c:v>
                </c:pt>
                <c:pt idx="114">
                  <c:v>250</c:v>
                </c:pt>
                <c:pt idx="115">
                  <c:v>104</c:v>
                </c:pt>
                <c:pt idx="116">
                  <c:v>78</c:v>
                </c:pt>
                <c:pt idx="117">
                  <c:v>89</c:v>
                </c:pt>
                <c:pt idx="118">
                  <c:v>126</c:v>
                </c:pt>
                <c:pt idx="119">
                  <c:v>167</c:v>
                </c:pt>
                <c:pt idx="120">
                  <c:v>217</c:v>
                </c:pt>
                <c:pt idx="121">
                  <c:v>152</c:v>
                </c:pt>
                <c:pt idx="122">
                  <c:v>35</c:v>
                </c:pt>
                <c:pt idx="123">
                  <c:v>25</c:v>
                </c:pt>
                <c:pt idx="124">
                  <c:v>84</c:v>
                </c:pt>
                <c:pt idx="125">
                  <c:v>72</c:v>
                </c:pt>
                <c:pt idx="126">
                  <c:v>80</c:v>
                </c:pt>
                <c:pt idx="127">
                  <c:v>96</c:v>
                </c:pt>
                <c:pt idx="128">
                  <c:v>128</c:v>
                </c:pt>
                <c:pt idx="129">
                  <c:v>26</c:v>
                </c:pt>
                <c:pt idx="130">
                  <c:v>13</c:v>
                </c:pt>
                <c:pt idx="131">
                  <c:v>76</c:v>
                </c:pt>
                <c:pt idx="132">
                  <c:v>253</c:v>
                </c:pt>
                <c:pt idx="133">
                  <c:v>269</c:v>
                </c:pt>
                <c:pt idx="134">
                  <c:v>305</c:v>
                </c:pt>
                <c:pt idx="135">
                  <c:v>117</c:v>
                </c:pt>
                <c:pt idx="136">
                  <c:v>113</c:v>
                </c:pt>
                <c:pt idx="137">
                  <c:v>59</c:v>
                </c:pt>
                <c:pt idx="138">
                  <c:v>50</c:v>
                </c:pt>
                <c:pt idx="139">
                  <c:v>138</c:v>
                </c:pt>
                <c:pt idx="140">
                  <c:v>194</c:v>
                </c:pt>
                <c:pt idx="141">
                  <c:v>389</c:v>
                </c:pt>
                <c:pt idx="142">
                  <c:v>458</c:v>
                </c:pt>
                <c:pt idx="143">
                  <c:v>176</c:v>
                </c:pt>
                <c:pt idx="144">
                  <c:v>129</c:v>
                </c:pt>
                <c:pt idx="145">
                  <c:v>337</c:v>
                </c:pt>
                <c:pt idx="146">
                  <c:v>342</c:v>
                </c:pt>
                <c:pt idx="147">
                  <c:v>321</c:v>
                </c:pt>
                <c:pt idx="148">
                  <c:v>553</c:v>
                </c:pt>
                <c:pt idx="149">
                  <c:v>546</c:v>
                </c:pt>
                <c:pt idx="150">
                  <c:v>258</c:v>
                </c:pt>
                <c:pt idx="151">
                  <c:v>231</c:v>
                </c:pt>
                <c:pt idx="152">
                  <c:v>571</c:v>
                </c:pt>
                <c:pt idx="153">
                  <c:v>3007</c:v>
                </c:pt>
                <c:pt idx="154">
                  <c:v>3007</c:v>
                </c:pt>
                <c:pt idx="155">
                  <c:v>3065</c:v>
                </c:pt>
                <c:pt idx="156">
                  <c:v>3242</c:v>
                </c:pt>
                <c:pt idx="157">
                  <c:v>2838</c:v>
                </c:pt>
                <c:pt idx="158">
                  <c:v>2749</c:v>
                </c:pt>
                <c:pt idx="159">
                  <c:v>2972</c:v>
                </c:pt>
                <c:pt idx="160">
                  <c:v>2888</c:v>
                </c:pt>
                <c:pt idx="161">
                  <c:v>2941</c:v>
                </c:pt>
                <c:pt idx="162">
                  <c:v>2937</c:v>
                </c:pt>
                <c:pt idx="163">
                  <c:v>3167</c:v>
                </c:pt>
                <c:pt idx="164">
                  <c:v>2702</c:v>
                </c:pt>
                <c:pt idx="165">
                  <c:v>2698</c:v>
                </c:pt>
                <c:pt idx="166">
                  <c:v>2950</c:v>
                </c:pt>
                <c:pt idx="167">
                  <c:v>2975</c:v>
                </c:pt>
                <c:pt idx="168">
                  <c:v>3001</c:v>
                </c:pt>
                <c:pt idx="169">
                  <c:v>3079</c:v>
                </c:pt>
                <c:pt idx="170">
                  <c:v>3227</c:v>
                </c:pt>
                <c:pt idx="171">
                  <c:v>2793</c:v>
                </c:pt>
                <c:pt idx="172">
                  <c:v>2730</c:v>
                </c:pt>
                <c:pt idx="173">
                  <c:v>2945</c:v>
                </c:pt>
                <c:pt idx="174">
                  <c:v>3030</c:v>
                </c:pt>
                <c:pt idx="175">
                  <c:v>3036</c:v>
                </c:pt>
                <c:pt idx="176">
                  <c:v>3029</c:v>
                </c:pt>
                <c:pt idx="177">
                  <c:v>3027</c:v>
                </c:pt>
                <c:pt idx="178">
                  <c:v>3012</c:v>
                </c:pt>
                <c:pt idx="179">
                  <c:v>3012</c:v>
                </c:pt>
                <c:pt idx="180">
                  <c:v>3022</c:v>
                </c:pt>
                <c:pt idx="181">
                  <c:v>3035</c:v>
                </c:pt>
                <c:pt idx="182">
                  <c:v>30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D85-47C2-92CB-D22E4A4C65D5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6 25-29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D$5:$D$187</c:f>
              <c:numCache>
                <c:formatCode>General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69</c:v>
                </c:pt>
                <c:pt idx="19">
                  <c:v>142</c:v>
                </c:pt>
                <c:pt idx="20">
                  <c:v>223</c:v>
                </c:pt>
                <c:pt idx="21">
                  <c:v>224</c:v>
                </c:pt>
                <c:pt idx="22">
                  <c:v>162</c:v>
                </c:pt>
                <c:pt idx="23">
                  <c:v>74</c:v>
                </c:pt>
                <c:pt idx="24">
                  <c:v>76</c:v>
                </c:pt>
                <c:pt idx="25">
                  <c:v>79</c:v>
                </c:pt>
                <c:pt idx="26">
                  <c:v>243</c:v>
                </c:pt>
                <c:pt idx="27">
                  <c:v>301</c:v>
                </c:pt>
                <c:pt idx="28">
                  <c:v>370</c:v>
                </c:pt>
                <c:pt idx="29">
                  <c:v>463</c:v>
                </c:pt>
                <c:pt idx="30">
                  <c:v>534</c:v>
                </c:pt>
                <c:pt idx="31">
                  <c:v>65</c:v>
                </c:pt>
                <c:pt idx="32">
                  <c:v>68</c:v>
                </c:pt>
                <c:pt idx="33">
                  <c:v>545</c:v>
                </c:pt>
                <c:pt idx="34">
                  <c:v>583</c:v>
                </c:pt>
                <c:pt idx="35">
                  <c:v>565</c:v>
                </c:pt>
                <c:pt idx="36">
                  <c:v>645</c:v>
                </c:pt>
                <c:pt idx="37">
                  <c:v>519</c:v>
                </c:pt>
                <c:pt idx="38">
                  <c:v>77</c:v>
                </c:pt>
                <c:pt idx="39">
                  <c:v>75</c:v>
                </c:pt>
                <c:pt idx="40">
                  <c:v>401</c:v>
                </c:pt>
                <c:pt idx="41">
                  <c:v>328</c:v>
                </c:pt>
                <c:pt idx="42">
                  <c:v>323</c:v>
                </c:pt>
                <c:pt idx="43">
                  <c:v>347</c:v>
                </c:pt>
                <c:pt idx="44">
                  <c:v>322</c:v>
                </c:pt>
                <c:pt idx="45">
                  <c:v>35</c:v>
                </c:pt>
                <c:pt idx="46">
                  <c:v>4</c:v>
                </c:pt>
                <c:pt idx="47">
                  <c:v>189</c:v>
                </c:pt>
                <c:pt idx="48">
                  <c:v>197</c:v>
                </c:pt>
                <c:pt idx="49">
                  <c:v>161</c:v>
                </c:pt>
                <c:pt idx="50">
                  <c:v>160</c:v>
                </c:pt>
                <c:pt idx="51">
                  <c:v>157</c:v>
                </c:pt>
                <c:pt idx="52">
                  <c:v>8</c:v>
                </c:pt>
                <c:pt idx="53">
                  <c:v>4</c:v>
                </c:pt>
                <c:pt idx="54">
                  <c:v>110</c:v>
                </c:pt>
                <c:pt idx="55">
                  <c:v>126</c:v>
                </c:pt>
                <c:pt idx="56">
                  <c:v>109</c:v>
                </c:pt>
                <c:pt idx="57">
                  <c:v>120</c:v>
                </c:pt>
                <c:pt idx="58">
                  <c:v>108</c:v>
                </c:pt>
                <c:pt idx="59">
                  <c:v>2</c:v>
                </c:pt>
                <c:pt idx="60">
                  <c:v>7</c:v>
                </c:pt>
                <c:pt idx="61">
                  <c:v>81</c:v>
                </c:pt>
                <c:pt idx="62">
                  <c:v>77</c:v>
                </c:pt>
                <c:pt idx="63">
                  <c:v>96</c:v>
                </c:pt>
                <c:pt idx="64">
                  <c:v>83</c:v>
                </c:pt>
                <c:pt idx="65">
                  <c:v>107</c:v>
                </c:pt>
                <c:pt idx="66">
                  <c:v>4</c:v>
                </c:pt>
                <c:pt idx="67">
                  <c:v>1</c:v>
                </c:pt>
                <c:pt idx="68">
                  <c:v>90</c:v>
                </c:pt>
                <c:pt idx="69">
                  <c:v>128</c:v>
                </c:pt>
                <c:pt idx="70">
                  <c:v>186</c:v>
                </c:pt>
                <c:pt idx="71">
                  <c:v>185</c:v>
                </c:pt>
                <c:pt idx="72">
                  <c:v>179</c:v>
                </c:pt>
                <c:pt idx="73">
                  <c:v>13</c:v>
                </c:pt>
                <c:pt idx="74">
                  <c:v>19</c:v>
                </c:pt>
                <c:pt idx="75">
                  <c:v>255</c:v>
                </c:pt>
                <c:pt idx="76">
                  <c:v>212</c:v>
                </c:pt>
                <c:pt idx="77">
                  <c:v>238</c:v>
                </c:pt>
                <c:pt idx="78">
                  <c:v>229</c:v>
                </c:pt>
                <c:pt idx="79">
                  <c:v>299</c:v>
                </c:pt>
                <c:pt idx="80">
                  <c:v>34</c:v>
                </c:pt>
                <c:pt idx="81">
                  <c:v>26</c:v>
                </c:pt>
                <c:pt idx="82">
                  <c:v>279</c:v>
                </c:pt>
                <c:pt idx="83">
                  <c:v>294</c:v>
                </c:pt>
                <c:pt idx="84">
                  <c:v>274</c:v>
                </c:pt>
                <c:pt idx="85">
                  <c:v>273</c:v>
                </c:pt>
                <c:pt idx="86">
                  <c:v>375</c:v>
                </c:pt>
                <c:pt idx="87">
                  <c:v>74</c:v>
                </c:pt>
                <c:pt idx="88">
                  <c:v>57</c:v>
                </c:pt>
                <c:pt idx="89">
                  <c:v>385</c:v>
                </c:pt>
                <c:pt idx="90">
                  <c:v>428</c:v>
                </c:pt>
                <c:pt idx="91">
                  <c:v>519</c:v>
                </c:pt>
                <c:pt idx="92">
                  <c:v>572</c:v>
                </c:pt>
                <c:pt idx="93">
                  <c:v>160</c:v>
                </c:pt>
                <c:pt idx="94">
                  <c:v>171</c:v>
                </c:pt>
                <c:pt idx="95">
                  <c:v>126</c:v>
                </c:pt>
                <c:pt idx="96">
                  <c:v>121</c:v>
                </c:pt>
                <c:pt idx="97">
                  <c:v>640</c:v>
                </c:pt>
                <c:pt idx="98">
                  <c:v>382</c:v>
                </c:pt>
                <c:pt idx="99">
                  <c:v>512</c:v>
                </c:pt>
                <c:pt idx="100">
                  <c:v>678</c:v>
                </c:pt>
                <c:pt idx="101">
                  <c:v>226</c:v>
                </c:pt>
                <c:pt idx="102">
                  <c:v>169</c:v>
                </c:pt>
                <c:pt idx="103">
                  <c:v>334</c:v>
                </c:pt>
                <c:pt idx="104">
                  <c:v>401</c:v>
                </c:pt>
                <c:pt idx="105">
                  <c:v>390</c:v>
                </c:pt>
                <c:pt idx="106">
                  <c:v>393</c:v>
                </c:pt>
                <c:pt idx="107">
                  <c:v>489</c:v>
                </c:pt>
                <c:pt idx="108">
                  <c:v>148</c:v>
                </c:pt>
                <c:pt idx="109">
                  <c:v>100</c:v>
                </c:pt>
                <c:pt idx="110">
                  <c:v>229</c:v>
                </c:pt>
                <c:pt idx="111">
                  <c:v>276</c:v>
                </c:pt>
                <c:pt idx="112">
                  <c:v>307</c:v>
                </c:pt>
                <c:pt idx="113">
                  <c:v>423</c:v>
                </c:pt>
                <c:pt idx="114">
                  <c:v>368</c:v>
                </c:pt>
                <c:pt idx="115">
                  <c:v>147</c:v>
                </c:pt>
                <c:pt idx="116">
                  <c:v>98</c:v>
                </c:pt>
                <c:pt idx="117">
                  <c:v>179</c:v>
                </c:pt>
                <c:pt idx="118">
                  <c:v>223</c:v>
                </c:pt>
                <c:pt idx="119">
                  <c:v>298</c:v>
                </c:pt>
                <c:pt idx="120">
                  <c:v>326</c:v>
                </c:pt>
                <c:pt idx="121">
                  <c:v>261</c:v>
                </c:pt>
                <c:pt idx="122">
                  <c:v>41</c:v>
                </c:pt>
                <c:pt idx="123">
                  <c:v>45</c:v>
                </c:pt>
                <c:pt idx="124">
                  <c:v>92</c:v>
                </c:pt>
                <c:pt idx="125">
                  <c:v>122</c:v>
                </c:pt>
                <c:pt idx="126">
                  <c:v>121</c:v>
                </c:pt>
                <c:pt idx="127">
                  <c:v>129</c:v>
                </c:pt>
                <c:pt idx="128">
                  <c:v>199</c:v>
                </c:pt>
                <c:pt idx="129">
                  <c:v>15</c:v>
                </c:pt>
                <c:pt idx="130">
                  <c:v>26</c:v>
                </c:pt>
                <c:pt idx="131">
                  <c:v>100</c:v>
                </c:pt>
                <c:pt idx="132">
                  <c:v>383</c:v>
                </c:pt>
                <c:pt idx="133">
                  <c:v>419</c:v>
                </c:pt>
                <c:pt idx="134">
                  <c:v>489</c:v>
                </c:pt>
                <c:pt idx="135">
                  <c:v>209</c:v>
                </c:pt>
                <c:pt idx="136">
                  <c:v>142</c:v>
                </c:pt>
                <c:pt idx="137">
                  <c:v>88</c:v>
                </c:pt>
                <c:pt idx="138">
                  <c:v>87</c:v>
                </c:pt>
                <c:pt idx="139">
                  <c:v>230</c:v>
                </c:pt>
                <c:pt idx="140">
                  <c:v>268</c:v>
                </c:pt>
                <c:pt idx="141">
                  <c:v>576</c:v>
                </c:pt>
                <c:pt idx="142">
                  <c:v>766</c:v>
                </c:pt>
                <c:pt idx="143">
                  <c:v>294</c:v>
                </c:pt>
                <c:pt idx="144">
                  <c:v>210</c:v>
                </c:pt>
                <c:pt idx="145">
                  <c:v>491</c:v>
                </c:pt>
                <c:pt idx="146">
                  <c:v>537</c:v>
                </c:pt>
                <c:pt idx="147">
                  <c:v>540</c:v>
                </c:pt>
                <c:pt idx="148">
                  <c:v>828</c:v>
                </c:pt>
                <c:pt idx="149">
                  <c:v>860</c:v>
                </c:pt>
                <c:pt idx="150">
                  <c:v>413</c:v>
                </c:pt>
                <c:pt idx="151">
                  <c:v>422</c:v>
                </c:pt>
                <c:pt idx="152">
                  <c:v>807</c:v>
                </c:pt>
                <c:pt idx="153">
                  <c:v>4147</c:v>
                </c:pt>
                <c:pt idx="154">
                  <c:v>4129</c:v>
                </c:pt>
                <c:pt idx="155">
                  <c:v>4260</c:v>
                </c:pt>
                <c:pt idx="156">
                  <c:v>4544</c:v>
                </c:pt>
                <c:pt idx="157">
                  <c:v>3875</c:v>
                </c:pt>
                <c:pt idx="158">
                  <c:v>3736</c:v>
                </c:pt>
                <c:pt idx="159">
                  <c:v>4065</c:v>
                </c:pt>
                <c:pt idx="160">
                  <c:v>3954</c:v>
                </c:pt>
                <c:pt idx="161">
                  <c:v>4028</c:v>
                </c:pt>
                <c:pt idx="162">
                  <c:v>4006</c:v>
                </c:pt>
                <c:pt idx="163">
                  <c:v>4268</c:v>
                </c:pt>
                <c:pt idx="164">
                  <c:v>3631</c:v>
                </c:pt>
                <c:pt idx="165">
                  <c:v>3601</c:v>
                </c:pt>
                <c:pt idx="166">
                  <c:v>4016</c:v>
                </c:pt>
                <c:pt idx="167">
                  <c:v>4095</c:v>
                </c:pt>
                <c:pt idx="168">
                  <c:v>4140</c:v>
                </c:pt>
                <c:pt idx="169">
                  <c:v>4290</c:v>
                </c:pt>
                <c:pt idx="170">
                  <c:v>4429</c:v>
                </c:pt>
                <c:pt idx="171">
                  <c:v>3862</c:v>
                </c:pt>
                <c:pt idx="172">
                  <c:v>3752</c:v>
                </c:pt>
                <c:pt idx="173">
                  <c:v>4222</c:v>
                </c:pt>
                <c:pt idx="174">
                  <c:v>4180</c:v>
                </c:pt>
                <c:pt idx="175">
                  <c:v>4197</c:v>
                </c:pt>
                <c:pt idx="176">
                  <c:v>4187</c:v>
                </c:pt>
                <c:pt idx="177">
                  <c:v>4189</c:v>
                </c:pt>
                <c:pt idx="178">
                  <c:v>4160</c:v>
                </c:pt>
                <c:pt idx="179">
                  <c:v>4157</c:v>
                </c:pt>
                <c:pt idx="180">
                  <c:v>4173</c:v>
                </c:pt>
                <c:pt idx="181">
                  <c:v>4186</c:v>
                </c:pt>
                <c:pt idx="182">
                  <c:v>41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D85-47C2-92CB-D22E4A4C65D5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7 30-34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E$5:$E$187</c:f>
              <c:numCache>
                <c:formatCode>General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70</c:v>
                </c:pt>
                <c:pt idx="19">
                  <c:v>174</c:v>
                </c:pt>
                <c:pt idx="20">
                  <c:v>189</c:v>
                </c:pt>
                <c:pt idx="21">
                  <c:v>197</c:v>
                </c:pt>
                <c:pt idx="22">
                  <c:v>141</c:v>
                </c:pt>
                <c:pt idx="23">
                  <c:v>69</c:v>
                </c:pt>
                <c:pt idx="24">
                  <c:v>55</c:v>
                </c:pt>
                <c:pt idx="25">
                  <c:v>83</c:v>
                </c:pt>
                <c:pt idx="26">
                  <c:v>238</c:v>
                </c:pt>
                <c:pt idx="27">
                  <c:v>354</c:v>
                </c:pt>
                <c:pt idx="28">
                  <c:v>346</c:v>
                </c:pt>
                <c:pt idx="29">
                  <c:v>436</c:v>
                </c:pt>
                <c:pt idx="30">
                  <c:v>552</c:v>
                </c:pt>
                <c:pt idx="31">
                  <c:v>60</c:v>
                </c:pt>
                <c:pt idx="32">
                  <c:v>80</c:v>
                </c:pt>
                <c:pt idx="33">
                  <c:v>526</c:v>
                </c:pt>
                <c:pt idx="34">
                  <c:v>632</c:v>
                </c:pt>
                <c:pt idx="35">
                  <c:v>658</c:v>
                </c:pt>
                <c:pt idx="36">
                  <c:v>749</c:v>
                </c:pt>
                <c:pt idx="37">
                  <c:v>572</c:v>
                </c:pt>
                <c:pt idx="38">
                  <c:v>91</c:v>
                </c:pt>
                <c:pt idx="39">
                  <c:v>75</c:v>
                </c:pt>
                <c:pt idx="40">
                  <c:v>489</c:v>
                </c:pt>
                <c:pt idx="41">
                  <c:v>459</c:v>
                </c:pt>
                <c:pt idx="42">
                  <c:v>360</c:v>
                </c:pt>
                <c:pt idx="43">
                  <c:v>399</c:v>
                </c:pt>
                <c:pt idx="44">
                  <c:v>368</c:v>
                </c:pt>
                <c:pt idx="45">
                  <c:v>43</c:v>
                </c:pt>
                <c:pt idx="46">
                  <c:v>12</c:v>
                </c:pt>
                <c:pt idx="47">
                  <c:v>247</c:v>
                </c:pt>
                <c:pt idx="48">
                  <c:v>182</c:v>
                </c:pt>
                <c:pt idx="49">
                  <c:v>180</c:v>
                </c:pt>
                <c:pt idx="50">
                  <c:v>202</c:v>
                </c:pt>
                <c:pt idx="51">
                  <c:v>145</c:v>
                </c:pt>
                <c:pt idx="52">
                  <c:v>7</c:v>
                </c:pt>
                <c:pt idx="53">
                  <c:v>3</c:v>
                </c:pt>
                <c:pt idx="54">
                  <c:v>153</c:v>
                </c:pt>
                <c:pt idx="55">
                  <c:v>129</c:v>
                </c:pt>
                <c:pt idx="56">
                  <c:v>114</c:v>
                </c:pt>
                <c:pt idx="57">
                  <c:v>130</c:v>
                </c:pt>
                <c:pt idx="58">
                  <c:v>135</c:v>
                </c:pt>
                <c:pt idx="59">
                  <c:v>7</c:v>
                </c:pt>
                <c:pt idx="60">
                  <c:v>4</c:v>
                </c:pt>
                <c:pt idx="61">
                  <c:v>97</c:v>
                </c:pt>
                <c:pt idx="62">
                  <c:v>80</c:v>
                </c:pt>
                <c:pt idx="63">
                  <c:v>126</c:v>
                </c:pt>
                <c:pt idx="64">
                  <c:v>77</c:v>
                </c:pt>
                <c:pt idx="65">
                  <c:v>119</c:v>
                </c:pt>
                <c:pt idx="66">
                  <c:v>3</c:v>
                </c:pt>
                <c:pt idx="67">
                  <c:v>3</c:v>
                </c:pt>
                <c:pt idx="68">
                  <c:v>118</c:v>
                </c:pt>
                <c:pt idx="69">
                  <c:v>137</c:v>
                </c:pt>
                <c:pt idx="70">
                  <c:v>198</c:v>
                </c:pt>
                <c:pt idx="71">
                  <c:v>213</c:v>
                </c:pt>
                <c:pt idx="72">
                  <c:v>227</c:v>
                </c:pt>
                <c:pt idx="73">
                  <c:v>10</c:v>
                </c:pt>
                <c:pt idx="74">
                  <c:v>29</c:v>
                </c:pt>
                <c:pt idx="75">
                  <c:v>245</c:v>
                </c:pt>
                <c:pt idx="76">
                  <c:v>251</c:v>
                </c:pt>
                <c:pt idx="77">
                  <c:v>293</c:v>
                </c:pt>
                <c:pt idx="78">
                  <c:v>300</c:v>
                </c:pt>
                <c:pt idx="79">
                  <c:v>310</c:v>
                </c:pt>
                <c:pt idx="80">
                  <c:v>40</c:v>
                </c:pt>
                <c:pt idx="81">
                  <c:v>38</c:v>
                </c:pt>
                <c:pt idx="82">
                  <c:v>324</c:v>
                </c:pt>
                <c:pt idx="83">
                  <c:v>296</c:v>
                </c:pt>
                <c:pt idx="84">
                  <c:v>365</c:v>
                </c:pt>
                <c:pt idx="85">
                  <c:v>309</c:v>
                </c:pt>
                <c:pt idx="86">
                  <c:v>435</c:v>
                </c:pt>
                <c:pt idx="87">
                  <c:v>72</c:v>
                </c:pt>
                <c:pt idx="88">
                  <c:v>66</c:v>
                </c:pt>
                <c:pt idx="89">
                  <c:v>452</c:v>
                </c:pt>
                <c:pt idx="90">
                  <c:v>502</c:v>
                </c:pt>
                <c:pt idx="91">
                  <c:v>560</c:v>
                </c:pt>
                <c:pt idx="92">
                  <c:v>668</c:v>
                </c:pt>
                <c:pt idx="93">
                  <c:v>201</c:v>
                </c:pt>
                <c:pt idx="94">
                  <c:v>190</c:v>
                </c:pt>
                <c:pt idx="95">
                  <c:v>144</c:v>
                </c:pt>
                <c:pt idx="96">
                  <c:v>139</c:v>
                </c:pt>
                <c:pt idx="97">
                  <c:v>698</c:v>
                </c:pt>
                <c:pt idx="98">
                  <c:v>435</c:v>
                </c:pt>
                <c:pt idx="99">
                  <c:v>559</c:v>
                </c:pt>
                <c:pt idx="100">
                  <c:v>630</c:v>
                </c:pt>
                <c:pt idx="101">
                  <c:v>236</c:v>
                </c:pt>
                <c:pt idx="102">
                  <c:v>151</c:v>
                </c:pt>
                <c:pt idx="103">
                  <c:v>410</c:v>
                </c:pt>
                <c:pt idx="104">
                  <c:v>535</c:v>
                </c:pt>
                <c:pt idx="105">
                  <c:v>469</c:v>
                </c:pt>
                <c:pt idx="106">
                  <c:v>448</c:v>
                </c:pt>
                <c:pt idx="107">
                  <c:v>604</c:v>
                </c:pt>
                <c:pt idx="108">
                  <c:v>229</c:v>
                </c:pt>
                <c:pt idx="109">
                  <c:v>115</c:v>
                </c:pt>
                <c:pt idx="110">
                  <c:v>275</c:v>
                </c:pt>
                <c:pt idx="111">
                  <c:v>303</c:v>
                </c:pt>
                <c:pt idx="112">
                  <c:v>374</c:v>
                </c:pt>
                <c:pt idx="113">
                  <c:v>480</c:v>
                </c:pt>
                <c:pt idx="114">
                  <c:v>458</c:v>
                </c:pt>
                <c:pt idx="115">
                  <c:v>131</c:v>
                </c:pt>
                <c:pt idx="116">
                  <c:v>97</c:v>
                </c:pt>
                <c:pt idx="117">
                  <c:v>180</c:v>
                </c:pt>
                <c:pt idx="118">
                  <c:v>255</c:v>
                </c:pt>
                <c:pt idx="119">
                  <c:v>348</c:v>
                </c:pt>
                <c:pt idx="120">
                  <c:v>465</c:v>
                </c:pt>
                <c:pt idx="121">
                  <c:v>314</c:v>
                </c:pt>
                <c:pt idx="122">
                  <c:v>58</c:v>
                </c:pt>
                <c:pt idx="123">
                  <c:v>46</c:v>
                </c:pt>
                <c:pt idx="124">
                  <c:v>86</c:v>
                </c:pt>
                <c:pt idx="125">
                  <c:v>141</c:v>
                </c:pt>
                <c:pt idx="126">
                  <c:v>166</c:v>
                </c:pt>
                <c:pt idx="127">
                  <c:v>154</c:v>
                </c:pt>
                <c:pt idx="128">
                  <c:v>245</c:v>
                </c:pt>
                <c:pt idx="129">
                  <c:v>31</c:v>
                </c:pt>
                <c:pt idx="130">
                  <c:v>30</c:v>
                </c:pt>
                <c:pt idx="131">
                  <c:v>123</c:v>
                </c:pt>
                <c:pt idx="132">
                  <c:v>450</c:v>
                </c:pt>
                <c:pt idx="133">
                  <c:v>491</c:v>
                </c:pt>
                <c:pt idx="134">
                  <c:v>587</c:v>
                </c:pt>
                <c:pt idx="135">
                  <c:v>228</c:v>
                </c:pt>
                <c:pt idx="136">
                  <c:v>172</c:v>
                </c:pt>
                <c:pt idx="137">
                  <c:v>103</c:v>
                </c:pt>
                <c:pt idx="138">
                  <c:v>112</c:v>
                </c:pt>
                <c:pt idx="139">
                  <c:v>293</c:v>
                </c:pt>
                <c:pt idx="140">
                  <c:v>399</c:v>
                </c:pt>
                <c:pt idx="141">
                  <c:v>704</c:v>
                </c:pt>
                <c:pt idx="142">
                  <c:v>1035</c:v>
                </c:pt>
                <c:pt idx="143">
                  <c:v>325</c:v>
                </c:pt>
                <c:pt idx="144">
                  <c:v>238</c:v>
                </c:pt>
                <c:pt idx="145">
                  <c:v>632</c:v>
                </c:pt>
                <c:pt idx="146">
                  <c:v>707</c:v>
                </c:pt>
                <c:pt idx="147">
                  <c:v>709</c:v>
                </c:pt>
                <c:pt idx="148">
                  <c:v>1072</c:v>
                </c:pt>
                <c:pt idx="149">
                  <c:v>1107</c:v>
                </c:pt>
                <c:pt idx="150">
                  <c:v>503</c:v>
                </c:pt>
                <c:pt idx="151">
                  <c:v>455</c:v>
                </c:pt>
                <c:pt idx="152">
                  <c:v>1032</c:v>
                </c:pt>
                <c:pt idx="153">
                  <c:v>4601</c:v>
                </c:pt>
                <c:pt idx="154">
                  <c:v>4706</c:v>
                </c:pt>
                <c:pt idx="155">
                  <c:v>4721</c:v>
                </c:pt>
                <c:pt idx="156">
                  <c:v>5153</c:v>
                </c:pt>
                <c:pt idx="157">
                  <c:v>4172</c:v>
                </c:pt>
                <c:pt idx="158">
                  <c:v>4121</c:v>
                </c:pt>
                <c:pt idx="159">
                  <c:v>4498</c:v>
                </c:pt>
                <c:pt idx="160">
                  <c:v>4405</c:v>
                </c:pt>
                <c:pt idx="161">
                  <c:v>4494</c:v>
                </c:pt>
                <c:pt idx="162">
                  <c:v>4521</c:v>
                </c:pt>
                <c:pt idx="163">
                  <c:v>4805</c:v>
                </c:pt>
                <c:pt idx="164">
                  <c:v>3967</c:v>
                </c:pt>
                <c:pt idx="165">
                  <c:v>3958</c:v>
                </c:pt>
                <c:pt idx="166">
                  <c:v>4588</c:v>
                </c:pt>
                <c:pt idx="167">
                  <c:v>4602</c:v>
                </c:pt>
                <c:pt idx="168">
                  <c:v>4737</c:v>
                </c:pt>
                <c:pt idx="169">
                  <c:v>4906</c:v>
                </c:pt>
                <c:pt idx="170">
                  <c:v>5107</c:v>
                </c:pt>
                <c:pt idx="171">
                  <c:v>4305</c:v>
                </c:pt>
                <c:pt idx="172">
                  <c:v>4160</c:v>
                </c:pt>
                <c:pt idx="173">
                  <c:v>4759</c:v>
                </c:pt>
                <c:pt idx="174">
                  <c:v>4766</c:v>
                </c:pt>
                <c:pt idx="175">
                  <c:v>4782</c:v>
                </c:pt>
                <c:pt idx="176">
                  <c:v>4792</c:v>
                </c:pt>
                <c:pt idx="177">
                  <c:v>4767</c:v>
                </c:pt>
                <c:pt idx="178">
                  <c:v>4728</c:v>
                </c:pt>
                <c:pt idx="179">
                  <c:v>4727</c:v>
                </c:pt>
                <c:pt idx="180">
                  <c:v>4768</c:v>
                </c:pt>
                <c:pt idx="181">
                  <c:v>4768</c:v>
                </c:pt>
                <c:pt idx="182">
                  <c:v>47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D85-47C2-92CB-D22E4A4C65D5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8 35-39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F$5:$F$187</c:f>
              <c:numCache>
                <c:formatCode>General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52</c:v>
                </c:pt>
                <c:pt idx="19">
                  <c:v>172</c:v>
                </c:pt>
                <c:pt idx="20">
                  <c:v>217</c:v>
                </c:pt>
                <c:pt idx="21">
                  <c:v>249</c:v>
                </c:pt>
                <c:pt idx="22">
                  <c:v>154</c:v>
                </c:pt>
                <c:pt idx="23">
                  <c:v>114</c:v>
                </c:pt>
                <c:pt idx="24">
                  <c:v>84</c:v>
                </c:pt>
                <c:pt idx="25">
                  <c:v>77</c:v>
                </c:pt>
                <c:pt idx="26">
                  <c:v>296</c:v>
                </c:pt>
                <c:pt idx="27">
                  <c:v>406</c:v>
                </c:pt>
                <c:pt idx="28">
                  <c:v>439</c:v>
                </c:pt>
                <c:pt idx="29">
                  <c:v>618</c:v>
                </c:pt>
                <c:pt idx="30">
                  <c:v>675</c:v>
                </c:pt>
                <c:pt idx="31">
                  <c:v>74</c:v>
                </c:pt>
                <c:pt idx="32">
                  <c:v>108</c:v>
                </c:pt>
                <c:pt idx="33">
                  <c:v>691</c:v>
                </c:pt>
                <c:pt idx="34">
                  <c:v>924</c:v>
                </c:pt>
                <c:pt idx="35">
                  <c:v>945</c:v>
                </c:pt>
                <c:pt idx="36">
                  <c:v>1039</c:v>
                </c:pt>
                <c:pt idx="37">
                  <c:v>812</c:v>
                </c:pt>
                <c:pt idx="38">
                  <c:v>109</c:v>
                </c:pt>
                <c:pt idx="39">
                  <c:v>83</c:v>
                </c:pt>
                <c:pt idx="40">
                  <c:v>691</c:v>
                </c:pt>
                <c:pt idx="41">
                  <c:v>581</c:v>
                </c:pt>
                <c:pt idx="42">
                  <c:v>575</c:v>
                </c:pt>
                <c:pt idx="43">
                  <c:v>638</c:v>
                </c:pt>
                <c:pt idx="44">
                  <c:v>517</c:v>
                </c:pt>
                <c:pt idx="45">
                  <c:v>52</c:v>
                </c:pt>
                <c:pt idx="46">
                  <c:v>17</c:v>
                </c:pt>
                <c:pt idx="47">
                  <c:v>359</c:v>
                </c:pt>
                <c:pt idx="48">
                  <c:v>294</c:v>
                </c:pt>
                <c:pt idx="49">
                  <c:v>267</c:v>
                </c:pt>
                <c:pt idx="50">
                  <c:v>310</c:v>
                </c:pt>
                <c:pt idx="51">
                  <c:v>224</c:v>
                </c:pt>
                <c:pt idx="52">
                  <c:v>15</c:v>
                </c:pt>
                <c:pt idx="53">
                  <c:v>10</c:v>
                </c:pt>
                <c:pt idx="54">
                  <c:v>155</c:v>
                </c:pt>
                <c:pt idx="55">
                  <c:v>178</c:v>
                </c:pt>
                <c:pt idx="56">
                  <c:v>156</c:v>
                </c:pt>
                <c:pt idx="57">
                  <c:v>192</c:v>
                </c:pt>
                <c:pt idx="58">
                  <c:v>166</c:v>
                </c:pt>
                <c:pt idx="59">
                  <c:v>5</c:v>
                </c:pt>
                <c:pt idx="60">
                  <c:v>4</c:v>
                </c:pt>
                <c:pt idx="61">
                  <c:v>112</c:v>
                </c:pt>
                <c:pt idx="62">
                  <c:v>126</c:v>
                </c:pt>
                <c:pt idx="63">
                  <c:v>157</c:v>
                </c:pt>
                <c:pt idx="64">
                  <c:v>162</c:v>
                </c:pt>
                <c:pt idx="65">
                  <c:v>147</c:v>
                </c:pt>
                <c:pt idx="66">
                  <c:v>5</c:v>
                </c:pt>
                <c:pt idx="67">
                  <c:v>5</c:v>
                </c:pt>
                <c:pt idx="68">
                  <c:v>128</c:v>
                </c:pt>
                <c:pt idx="69">
                  <c:v>175</c:v>
                </c:pt>
                <c:pt idx="70">
                  <c:v>252</c:v>
                </c:pt>
                <c:pt idx="71">
                  <c:v>271</c:v>
                </c:pt>
                <c:pt idx="72">
                  <c:v>286</c:v>
                </c:pt>
                <c:pt idx="73">
                  <c:v>21</c:v>
                </c:pt>
                <c:pt idx="74">
                  <c:v>32</c:v>
                </c:pt>
                <c:pt idx="75">
                  <c:v>251</c:v>
                </c:pt>
                <c:pt idx="76">
                  <c:v>287</c:v>
                </c:pt>
                <c:pt idx="77">
                  <c:v>344</c:v>
                </c:pt>
                <c:pt idx="78">
                  <c:v>417</c:v>
                </c:pt>
                <c:pt idx="79">
                  <c:v>421</c:v>
                </c:pt>
                <c:pt idx="80">
                  <c:v>37</c:v>
                </c:pt>
                <c:pt idx="81">
                  <c:v>21</c:v>
                </c:pt>
                <c:pt idx="82">
                  <c:v>428</c:v>
                </c:pt>
                <c:pt idx="83">
                  <c:v>400</c:v>
                </c:pt>
                <c:pt idx="84">
                  <c:v>437</c:v>
                </c:pt>
                <c:pt idx="85">
                  <c:v>482</c:v>
                </c:pt>
                <c:pt idx="86">
                  <c:v>566</c:v>
                </c:pt>
                <c:pt idx="87">
                  <c:v>100</c:v>
                </c:pt>
                <c:pt idx="88">
                  <c:v>92</c:v>
                </c:pt>
                <c:pt idx="89">
                  <c:v>649</c:v>
                </c:pt>
                <c:pt idx="90">
                  <c:v>682</c:v>
                </c:pt>
                <c:pt idx="91">
                  <c:v>847</c:v>
                </c:pt>
                <c:pt idx="92">
                  <c:v>980</c:v>
                </c:pt>
                <c:pt idx="93">
                  <c:v>315</c:v>
                </c:pt>
                <c:pt idx="94">
                  <c:v>278</c:v>
                </c:pt>
                <c:pt idx="95">
                  <c:v>247</c:v>
                </c:pt>
                <c:pt idx="96">
                  <c:v>202</c:v>
                </c:pt>
                <c:pt idx="97">
                  <c:v>925</c:v>
                </c:pt>
                <c:pt idx="98">
                  <c:v>669</c:v>
                </c:pt>
                <c:pt idx="99">
                  <c:v>845</c:v>
                </c:pt>
                <c:pt idx="100">
                  <c:v>904</c:v>
                </c:pt>
                <c:pt idx="101">
                  <c:v>407</c:v>
                </c:pt>
                <c:pt idx="102">
                  <c:v>214</c:v>
                </c:pt>
                <c:pt idx="103">
                  <c:v>528</c:v>
                </c:pt>
                <c:pt idx="104">
                  <c:v>721</c:v>
                </c:pt>
                <c:pt idx="105">
                  <c:v>632</c:v>
                </c:pt>
                <c:pt idx="106">
                  <c:v>618</c:v>
                </c:pt>
                <c:pt idx="107">
                  <c:v>979</c:v>
                </c:pt>
                <c:pt idx="108">
                  <c:v>307</c:v>
                </c:pt>
                <c:pt idx="109">
                  <c:v>182</c:v>
                </c:pt>
                <c:pt idx="110">
                  <c:v>364</c:v>
                </c:pt>
                <c:pt idx="111">
                  <c:v>399</c:v>
                </c:pt>
                <c:pt idx="112">
                  <c:v>411</c:v>
                </c:pt>
                <c:pt idx="113">
                  <c:v>559</c:v>
                </c:pt>
                <c:pt idx="114">
                  <c:v>627</c:v>
                </c:pt>
                <c:pt idx="115">
                  <c:v>172</c:v>
                </c:pt>
                <c:pt idx="116">
                  <c:v>118</c:v>
                </c:pt>
                <c:pt idx="117">
                  <c:v>245</c:v>
                </c:pt>
                <c:pt idx="118">
                  <c:v>374</c:v>
                </c:pt>
                <c:pt idx="119">
                  <c:v>464</c:v>
                </c:pt>
                <c:pt idx="120">
                  <c:v>707</c:v>
                </c:pt>
                <c:pt idx="121">
                  <c:v>423</c:v>
                </c:pt>
                <c:pt idx="122">
                  <c:v>96</c:v>
                </c:pt>
                <c:pt idx="123">
                  <c:v>61</c:v>
                </c:pt>
                <c:pt idx="124">
                  <c:v>166</c:v>
                </c:pt>
                <c:pt idx="125">
                  <c:v>178</c:v>
                </c:pt>
                <c:pt idx="126">
                  <c:v>222</c:v>
                </c:pt>
                <c:pt idx="127">
                  <c:v>249</c:v>
                </c:pt>
                <c:pt idx="128">
                  <c:v>294</c:v>
                </c:pt>
                <c:pt idx="129">
                  <c:v>42</c:v>
                </c:pt>
                <c:pt idx="130">
                  <c:v>53</c:v>
                </c:pt>
                <c:pt idx="131">
                  <c:v>196</c:v>
                </c:pt>
                <c:pt idx="132">
                  <c:v>597</c:v>
                </c:pt>
                <c:pt idx="133">
                  <c:v>601</c:v>
                </c:pt>
                <c:pt idx="134">
                  <c:v>794</c:v>
                </c:pt>
                <c:pt idx="135">
                  <c:v>308</c:v>
                </c:pt>
                <c:pt idx="136">
                  <c:v>255</c:v>
                </c:pt>
                <c:pt idx="137">
                  <c:v>135</c:v>
                </c:pt>
                <c:pt idx="138">
                  <c:v>159</c:v>
                </c:pt>
                <c:pt idx="139">
                  <c:v>380</c:v>
                </c:pt>
                <c:pt idx="140">
                  <c:v>478</c:v>
                </c:pt>
                <c:pt idx="141">
                  <c:v>1034</c:v>
                </c:pt>
                <c:pt idx="142">
                  <c:v>1222</c:v>
                </c:pt>
                <c:pt idx="143">
                  <c:v>508</c:v>
                </c:pt>
                <c:pt idx="144">
                  <c:v>328</c:v>
                </c:pt>
                <c:pt idx="145">
                  <c:v>995</c:v>
                </c:pt>
                <c:pt idx="146">
                  <c:v>973</c:v>
                </c:pt>
                <c:pt idx="147">
                  <c:v>977</c:v>
                </c:pt>
                <c:pt idx="148">
                  <c:v>1406</c:v>
                </c:pt>
                <c:pt idx="149">
                  <c:v>1751</c:v>
                </c:pt>
                <c:pt idx="150">
                  <c:v>851</c:v>
                </c:pt>
                <c:pt idx="151">
                  <c:v>723</c:v>
                </c:pt>
                <c:pt idx="152">
                  <c:v>1596</c:v>
                </c:pt>
                <c:pt idx="153">
                  <c:v>5445</c:v>
                </c:pt>
                <c:pt idx="154">
                  <c:v>5522</c:v>
                </c:pt>
                <c:pt idx="155">
                  <c:v>5498</c:v>
                </c:pt>
                <c:pt idx="156">
                  <c:v>5988</c:v>
                </c:pt>
                <c:pt idx="157">
                  <c:v>4609</c:v>
                </c:pt>
                <c:pt idx="158">
                  <c:v>4535</c:v>
                </c:pt>
                <c:pt idx="159">
                  <c:v>5152</c:v>
                </c:pt>
                <c:pt idx="160">
                  <c:v>4945</c:v>
                </c:pt>
                <c:pt idx="161">
                  <c:v>5029</c:v>
                </c:pt>
                <c:pt idx="162">
                  <c:v>5129</c:v>
                </c:pt>
                <c:pt idx="163">
                  <c:v>5509</c:v>
                </c:pt>
                <c:pt idx="164">
                  <c:v>4407</c:v>
                </c:pt>
                <c:pt idx="165">
                  <c:v>4344</c:v>
                </c:pt>
                <c:pt idx="166">
                  <c:v>5200</c:v>
                </c:pt>
                <c:pt idx="167">
                  <c:v>5294</c:v>
                </c:pt>
                <c:pt idx="168">
                  <c:v>5408</c:v>
                </c:pt>
                <c:pt idx="169">
                  <c:v>5681</c:v>
                </c:pt>
                <c:pt idx="170">
                  <c:v>5869</c:v>
                </c:pt>
                <c:pt idx="171">
                  <c:v>4771</c:v>
                </c:pt>
                <c:pt idx="172">
                  <c:v>4538</c:v>
                </c:pt>
                <c:pt idx="173">
                  <c:v>5485</c:v>
                </c:pt>
                <c:pt idx="174">
                  <c:v>5456</c:v>
                </c:pt>
                <c:pt idx="175">
                  <c:v>5452</c:v>
                </c:pt>
                <c:pt idx="176">
                  <c:v>5468</c:v>
                </c:pt>
                <c:pt idx="177">
                  <c:v>5452</c:v>
                </c:pt>
                <c:pt idx="178">
                  <c:v>5391</c:v>
                </c:pt>
                <c:pt idx="179">
                  <c:v>5386</c:v>
                </c:pt>
                <c:pt idx="180">
                  <c:v>5434</c:v>
                </c:pt>
                <c:pt idx="181">
                  <c:v>5450</c:v>
                </c:pt>
                <c:pt idx="182">
                  <c:v>54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D85-47C2-92CB-D22E4A4C65D5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9 40-44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G$5:$G$187</c:f>
              <c:numCache>
                <c:formatCode>General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89</c:v>
                </c:pt>
                <c:pt idx="19">
                  <c:v>236</c:v>
                </c:pt>
                <c:pt idx="20">
                  <c:v>329</c:v>
                </c:pt>
                <c:pt idx="21">
                  <c:v>354</c:v>
                </c:pt>
                <c:pt idx="22">
                  <c:v>232</c:v>
                </c:pt>
                <c:pt idx="23">
                  <c:v>150</c:v>
                </c:pt>
                <c:pt idx="24">
                  <c:v>138</c:v>
                </c:pt>
                <c:pt idx="25">
                  <c:v>131</c:v>
                </c:pt>
                <c:pt idx="26">
                  <c:v>455</c:v>
                </c:pt>
                <c:pt idx="27">
                  <c:v>588</c:v>
                </c:pt>
                <c:pt idx="28">
                  <c:v>656</c:v>
                </c:pt>
                <c:pt idx="29">
                  <c:v>794</c:v>
                </c:pt>
                <c:pt idx="30">
                  <c:v>1023</c:v>
                </c:pt>
                <c:pt idx="31">
                  <c:v>119</c:v>
                </c:pt>
                <c:pt idx="32">
                  <c:v>128</c:v>
                </c:pt>
                <c:pt idx="33">
                  <c:v>1075</c:v>
                </c:pt>
                <c:pt idx="34">
                  <c:v>1243</c:v>
                </c:pt>
                <c:pt idx="35">
                  <c:v>1284</c:v>
                </c:pt>
                <c:pt idx="36">
                  <c:v>1424</c:v>
                </c:pt>
                <c:pt idx="37">
                  <c:v>1170</c:v>
                </c:pt>
                <c:pt idx="38">
                  <c:v>155</c:v>
                </c:pt>
                <c:pt idx="39">
                  <c:v>117</c:v>
                </c:pt>
                <c:pt idx="40">
                  <c:v>1034</c:v>
                </c:pt>
                <c:pt idx="41">
                  <c:v>913</c:v>
                </c:pt>
                <c:pt idx="42">
                  <c:v>814</c:v>
                </c:pt>
                <c:pt idx="43">
                  <c:v>946</c:v>
                </c:pt>
                <c:pt idx="44">
                  <c:v>854</c:v>
                </c:pt>
                <c:pt idx="45">
                  <c:v>101</c:v>
                </c:pt>
                <c:pt idx="46">
                  <c:v>21</c:v>
                </c:pt>
                <c:pt idx="47">
                  <c:v>516</c:v>
                </c:pt>
                <c:pt idx="48">
                  <c:v>435</c:v>
                </c:pt>
                <c:pt idx="49">
                  <c:v>378</c:v>
                </c:pt>
                <c:pt idx="50">
                  <c:v>436</c:v>
                </c:pt>
                <c:pt idx="51">
                  <c:v>316</c:v>
                </c:pt>
                <c:pt idx="52">
                  <c:v>7</c:v>
                </c:pt>
                <c:pt idx="53">
                  <c:v>7</c:v>
                </c:pt>
                <c:pt idx="54">
                  <c:v>220</c:v>
                </c:pt>
                <c:pt idx="55">
                  <c:v>287</c:v>
                </c:pt>
                <c:pt idx="56">
                  <c:v>268</c:v>
                </c:pt>
                <c:pt idx="57">
                  <c:v>222</c:v>
                </c:pt>
                <c:pt idx="58">
                  <c:v>277</c:v>
                </c:pt>
                <c:pt idx="59">
                  <c:v>9</c:v>
                </c:pt>
                <c:pt idx="60">
                  <c:v>4</c:v>
                </c:pt>
                <c:pt idx="61">
                  <c:v>137</c:v>
                </c:pt>
                <c:pt idx="62">
                  <c:v>159</c:v>
                </c:pt>
                <c:pt idx="63">
                  <c:v>243</c:v>
                </c:pt>
                <c:pt idx="64">
                  <c:v>212</c:v>
                </c:pt>
                <c:pt idx="65">
                  <c:v>234</c:v>
                </c:pt>
                <c:pt idx="66">
                  <c:v>7</c:v>
                </c:pt>
                <c:pt idx="67">
                  <c:v>12</c:v>
                </c:pt>
                <c:pt idx="68">
                  <c:v>188</c:v>
                </c:pt>
                <c:pt idx="69">
                  <c:v>309</c:v>
                </c:pt>
                <c:pt idx="70">
                  <c:v>343</c:v>
                </c:pt>
                <c:pt idx="71">
                  <c:v>392</c:v>
                </c:pt>
                <c:pt idx="72">
                  <c:v>462</c:v>
                </c:pt>
                <c:pt idx="73">
                  <c:v>28</c:v>
                </c:pt>
                <c:pt idx="74">
                  <c:v>31</c:v>
                </c:pt>
                <c:pt idx="75">
                  <c:v>378</c:v>
                </c:pt>
                <c:pt idx="76">
                  <c:v>421</c:v>
                </c:pt>
                <c:pt idx="77">
                  <c:v>439</c:v>
                </c:pt>
                <c:pt idx="78">
                  <c:v>495</c:v>
                </c:pt>
                <c:pt idx="79">
                  <c:v>589</c:v>
                </c:pt>
                <c:pt idx="80">
                  <c:v>74</c:v>
                </c:pt>
                <c:pt idx="81">
                  <c:v>38</c:v>
                </c:pt>
                <c:pt idx="82">
                  <c:v>605</c:v>
                </c:pt>
                <c:pt idx="83">
                  <c:v>633</c:v>
                </c:pt>
                <c:pt idx="84">
                  <c:v>731</c:v>
                </c:pt>
                <c:pt idx="85">
                  <c:v>763</c:v>
                </c:pt>
                <c:pt idx="86">
                  <c:v>915</c:v>
                </c:pt>
                <c:pt idx="87">
                  <c:v>170</c:v>
                </c:pt>
                <c:pt idx="88">
                  <c:v>139</c:v>
                </c:pt>
                <c:pt idx="89">
                  <c:v>950</c:v>
                </c:pt>
                <c:pt idx="90">
                  <c:v>1045</c:v>
                </c:pt>
                <c:pt idx="91">
                  <c:v>1220</c:v>
                </c:pt>
                <c:pt idx="92">
                  <c:v>1399</c:v>
                </c:pt>
                <c:pt idx="93">
                  <c:v>598</c:v>
                </c:pt>
                <c:pt idx="94">
                  <c:v>465</c:v>
                </c:pt>
                <c:pt idx="95">
                  <c:v>440</c:v>
                </c:pt>
                <c:pt idx="96">
                  <c:v>341</c:v>
                </c:pt>
                <c:pt idx="97">
                  <c:v>1416</c:v>
                </c:pt>
                <c:pt idx="98">
                  <c:v>971</c:v>
                </c:pt>
                <c:pt idx="99">
                  <c:v>1260</c:v>
                </c:pt>
                <c:pt idx="100">
                  <c:v>1433</c:v>
                </c:pt>
                <c:pt idx="101">
                  <c:v>531</c:v>
                </c:pt>
                <c:pt idx="102">
                  <c:v>309</c:v>
                </c:pt>
                <c:pt idx="103">
                  <c:v>1019</c:v>
                </c:pt>
                <c:pt idx="104">
                  <c:v>1304</c:v>
                </c:pt>
                <c:pt idx="105">
                  <c:v>1149</c:v>
                </c:pt>
                <c:pt idx="106">
                  <c:v>1115</c:v>
                </c:pt>
                <c:pt idx="107">
                  <c:v>1584</c:v>
                </c:pt>
                <c:pt idx="108">
                  <c:v>369</c:v>
                </c:pt>
                <c:pt idx="109">
                  <c:v>228</c:v>
                </c:pt>
                <c:pt idx="110">
                  <c:v>667</c:v>
                </c:pt>
                <c:pt idx="111">
                  <c:v>616</c:v>
                </c:pt>
                <c:pt idx="112">
                  <c:v>688</c:v>
                </c:pt>
                <c:pt idx="113">
                  <c:v>946</c:v>
                </c:pt>
                <c:pt idx="114">
                  <c:v>710</c:v>
                </c:pt>
                <c:pt idx="115">
                  <c:v>222</c:v>
                </c:pt>
                <c:pt idx="116">
                  <c:v>246</c:v>
                </c:pt>
                <c:pt idx="117">
                  <c:v>358</c:v>
                </c:pt>
                <c:pt idx="118">
                  <c:v>559</c:v>
                </c:pt>
                <c:pt idx="119">
                  <c:v>693</c:v>
                </c:pt>
                <c:pt idx="120">
                  <c:v>892</c:v>
                </c:pt>
                <c:pt idx="121">
                  <c:v>605</c:v>
                </c:pt>
                <c:pt idx="122">
                  <c:v>149</c:v>
                </c:pt>
                <c:pt idx="123">
                  <c:v>118</c:v>
                </c:pt>
                <c:pt idx="124">
                  <c:v>190</c:v>
                </c:pt>
                <c:pt idx="125">
                  <c:v>339</c:v>
                </c:pt>
                <c:pt idx="126">
                  <c:v>280</c:v>
                </c:pt>
                <c:pt idx="127">
                  <c:v>391</c:v>
                </c:pt>
                <c:pt idx="128">
                  <c:v>504</c:v>
                </c:pt>
                <c:pt idx="129">
                  <c:v>71</c:v>
                </c:pt>
                <c:pt idx="130">
                  <c:v>72</c:v>
                </c:pt>
                <c:pt idx="131">
                  <c:v>248</c:v>
                </c:pt>
                <c:pt idx="132">
                  <c:v>986</c:v>
                </c:pt>
                <c:pt idx="133">
                  <c:v>932</c:v>
                </c:pt>
                <c:pt idx="134">
                  <c:v>1111</c:v>
                </c:pt>
                <c:pt idx="135">
                  <c:v>443</c:v>
                </c:pt>
                <c:pt idx="136">
                  <c:v>324</c:v>
                </c:pt>
                <c:pt idx="137">
                  <c:v>214</c:v>
                </c:pt>
                <c:pt idx="138">
                  <c:v>182</c:v>
                </c:pt>
                <c:pt idx="139">
                  <c:v>559</c:v>
                </c:pt>
                <c:pt idx="140">
                  <c:v>819</c:v>
                </c:pt>
                <c:pt idx="141">
                  <c:v>1350</c:v>
                </c:pt>
                <c:pt idx="142">
                  <c:v>1733</c:v>
                </c:pt>
                <c:pt idx="143">
                  <c:v>826</c:v>
                </c:pt>
                <c:pt idx="144">
                  <c:v>633</c:v>
                </c:pt>
                <c:pt idx="145">
                  <c:v>1478</c:v>
                </c:pt>
                <c:pt idx="146">
                  <c:v>1679</c:v>
                </c:pt>
                <c:pt idx="147">
                  <c:v>1459</c:v>
                </c:pt>
                <c:pt idx="148">
                  <c:v>2224</c:v>
                </c:pt>
                <c:pt idx="149">
                  <c:v>2818</c:v>
                </c:pt>
                <c:pt idx="150">
                  <c:v>1223</c:v>
                </c:pt>
                <c:pt idx="151">
                  <c:v>968</c:v>
                </c:pt>
                <c:pt idx="152">
                  <c:v>2408</c:v>
                </c:pt>
                <c:pt idx="153">
                  <c:v>7011</c:v>
                </c:pt>
                <c:pt idx="154">
                  <c:v>6993</c:v>
                </c:pt>
                <c:pt idx="155">
                  <c:v>7111</c:v>
                </c:pt>
                <c:pt idx="156">
                  <c:v>7856</c:v>
                </c:pt>
                <c:pt idx="157">
                  <c:v>5742</c:v>
                </c:pt>
                <c:pt idx="158">
                  <c:v>5548</c:v>
                </c:pt>
                <c:pt idx="159">
                  <c:v>6302</c:v>
                </c:pt>
                <c:pt idx="160">
                  <c:v>6263</c:v>
                </c:pt>
                <c:pt idx="161">
                  <c:v>6296</c:v>
                </c:pt>
                <c:pt idx="162">
                  <c:v>6515</c:v>
                </c:pt>
                <c:pt idx="163">
                  <c:v>7173</c:v>
                </c:pt>
                <c:pt idx="164">
                  <c:v>5474</c:v>
                </c:pt>
                <c:pt idx="165">
                  <c:v>5323</c:v>
                </c:pt>
                <c:pt idx="166">
                  <c:v>6677</c:v>
                </c:pt>
                <c:pt idx="167">
                  <c:v>6799</c:v>
                </c:pt>
                <c:pt idx="168">
                  <c:v>6744</c:v>
                </c:pt>
                <c:pt idx="169">
                  <c:v>7385</c:v>
                </c:pt>
                <c:pt idx="170">
                  <c:v>7484</c:v>
                </c:pt>
                <c:pt idx="171">
                  <c:v>5861</c:v>
                </c:pt>
                <c:pt idx="172">
                  <c:v>5549</c:v>
                </c:pt>
                <c:pt idx="173">
                  <c:v>6747</c:v>
                </c:pt>
                <c:pt idx="174">
                  <c:v>6920</c:v>
                </c:pt>
                <c:pt idx="175">
                  <c:v>6930</c:v>
                </c:pt>
                <c:pt idx="176">
                  <c:v>6948</c:v>
                </c:pt>
                <c:pt idx="177">
                  <c:v>6904</c:v>
                </c:pt>
                <c:pt idx="178">
                  <c:v>6826</c:v>
                </c:pt>
                <c:pt idx="179">
                  <c:v>6822</c:v>
                </c:pt>
                <c:pt idx="180">
                  <c:v>6898</c:v>
                </c:pt>
                <c:pt idx="181">
                  <c:v>6903</c:v>
                </c:pt>
                <c:pt idx="182">
                  <c:v>68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D85-47C2-92CB-D22E4A4C65D5}"/>
            </c:ext>
          </c:extLst>
        </c:ser>
        <c:ser>
          <c:idx val="6"/>
          <c:order val="6"/>
          <c:tx>
            <c:strRef>
              <c:f>List1!$H$1</c:f>
              <c:strCache>
                <c:ptCount val="1"/>
                <c:pt idx="0">
                  <c:v>10 45-49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H$5:$H$187</c:f>
              <c:numCache>
                <c:formatCode>General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99</c:v>
                </c:pt>
                <c:pt idx="19">
                  <c:v>238</c:v>
                </c:pt>
                <c:pt idx="20">
                  <c:v>365</c:v>
                </c:pt>
                <c:pt idx="21">
                  <c:v>335</c:v>
                </c:pt>
                <c:pt idx="22">
                  <c:v>247</c:v>
                </c:pt>
                <c:pt idx="23">
                  <c:v>132</c:v>
                </c:pt>
                <c:pt idx="24">
                  <c:v>127</c:v>
                </c:pt>
                <c:pt idx="25">
                  <c:v>131</c:v>
                </c:pt>
                <c:pt idx="26">
                  <c:v>492</c:v>
                </c:pt>
                <c:pt idx="27">
                  <c:v>629</c:v>
                </c:pt>
                <c:pt idx="28">
                  <c:v>735</c:v>
                </c:pt>
                <c:pt idx="29">
                  <c:v>925</c:v>
                </c:pt>
                <c:pt idx="30">
                  <c:v>1217</c:v>
                </c:pt>
                <c:pt idx="31">
                  <c:v>146</c:v>
                </c:pt>
                <c:pt idx="32">
                  <c:v>133</c:v>
                </c:pt>
                <c:pt idx="33">
                  <c:v>1151</c:v>
                </c:pt>
                <c:pt idx="34">
                  <c:v>1504</c:v>
                </c:pt>
                <c:pt idx="35">
                  <c:v>1525</c:v>
                </c:pt>
                <c:pt idx="36">
                  <c:v>1675</c:v>
                </c:pt>
                <c:pt idx="37">
                  <c:v>1335</c:v>
                </c:pt>
                <c:pt idx="38">
                  <c:v>177</c:v>
                </c:pt>
                <c:pt idx="39">
                  <c:v>153</c:v>
                </c:pt>
                <c:pt idx="40">
                  <c:v>1122</c:v>
                </c:pt>
                <c:pt idx="41">
                  <c:v>1074</c:v>
                </c:pt>
                <c:pt idx="42">
                  <c:v>1030</c:v>
                </c:pt>
                <c:pt idx="43">
                  <c:v>1141</c:v>
                </c:pt>
                <c:pt idx="44">
                  <c:v>990</c:v>
                </c:pt>
                <c:pt idx="45">
                  <c:v>104</c:v>
                </c:pt>
                <c:pt idx="46">
                  <c:v>24</c:v>
                </c:pt>
                <c:pt idx="47">
                  <c:v>559</c:v>
                </c:pt>
                <c:pt idx="48">
                  <c:v>482</c:v>
                </c:pt>
                <c:pt idx="49">
                  <c:v>521</c:v>
                </c:pt>
                <c:pt idx="50">
                  <c:v>505</c:v>
                </c:pt>
                <c:pt idx="51">
                  <c:v>413</c:v>
                </c:pt>
                <c:pt idx="52">
                  <c:v>27</c:v>
                </c:pt>
                <c:pt idx="53">
                  <c:v>28</c:v>
                </c:pt>
                <c:pt idx="54">
                  <c:v>280</c:v>
                </c:pt>
                <c:pt idx="55">
                  <c:v>339</c:v>
                </c:pt>
                <c:pt idx="56">
                  <c:v>329</c:v>
                </c:pt>
                <c:pt idx="57">
                  <c:v>336</c:v>
                </c:pt>
                <c:pt idx="58">
                  <c:v>308</c:v>
                </c:pt>
                <c:pt idx="59">
                  <c:v>5</c:v>
                </c:pt>
                <c:pt idx="60">
                  <c:v>10</c:v>
                </c:pt>
                <c:pt idx="61">
                  <c:v>150</c:v>
                </c:pt>
                <c:pt idx="62">
                  <c:v>193</c:v>
                </c:pt>
                <c:pt idx="63">
                  <c:v>280</c:v>
                </c:pt>
                <c:pt idx="64">
                  <c:v>242</c:v>
                </c:pt>
                <c:pt idx="65">
                  <c:v>275</c:v>
                </c:pt>
                <c:pt idx="66">
                  <c:v>17</c:v>
                </c:pt>
                <c:pt idx="67">
                  <c:v>4</c:v>
                </c:pt>
                <c:pt idx="68">
                  <c:v>227</c:v>
                </c:pt>
                <c:pt idx="69">
                  <c:v>292</c:v>
                </c:pt>
                <c:pt idx="70">
                  <c:v>387</c:v>
                </c:pt>
                <c:pt idx="71">
                  <c:v>531</c:v>
                </c:pt>
                <c:pt idx="72">
                  <c:v>509</c:v>
                </c:pt>
                <c:pt idx="73">
                  <c:v>26</c:v>
                </c:pt>
                <c:pt idx="74">
                  <c:v>38</c:v>
                </c:pt>
                <c:pt idx="75">
                  <c:v>397</c:v>
                </c:pt>
                <c:pt idx="76">
                  <c:v>432</c:v>
                </c:pt>
                <c:pt idx="77">
                  <c:v>476</c:v>
                </c:pt>
                <c:pt idx="78">
                  <c:v>586</c:v>
                </c:pt>
                <c:pt idx="79">
                  <c:v>716</c:v>
                </c:pt>
                <c:pt idx="80">
                  <c:v>74</c:v>
                </c:pt>
                <c:pt idx="81">
                  <c:v>57</c:v>
                </c:pt>
                <c:pt idx="82">
                  <c:v>691</c:v>
                </c:pt>
                <c:pt idx="83">
                  <c:v>686</c:v>
                </c:pt>
                <c:pt idx="84">
                  <c:v>886</c:v>
                </c:pt>
                <c:pt idx="85">
                  <c:v>966</c:v>
                </c:pt>
                <c:pt idx="86">
                  <c:v>986</c:v>
                </c:pt>
                <c:pt idx="87">
                  <c:v>170</c:v>
                </c:pt>
                <c:pt idx="88">
                  <c:v>205</c:v>
                </c:pt>
                <c:pt idx="89">
                  <c:v>1143</c:v>
                </c:pt>
                <c:pt idx="90">
                  <c:v>1285</c:v>
                </c:pt>
                <c:pt idx="91">
                  <c:v>1371</c:v>
                </c:pt>
                <c:pt idx="92">
                  <c:v>1582</c:v>
                </c:pt>
                <c:pt idx="93">
                  <c:v>582</c:v>
                </c:pt>
                <c:pt idx="94">
                  <c:v>565</c:v>
                </c:pt>
                <c:pt idx="95">
                  <c:v>517</c:v>
                </c:pt>
                <c:pt idx="96">
                  <c:v>343</c:v>
                </c:pt>
                <c:pt idx="97">
                  <c:v>1654</c:v>
                </c:pt>
                <c:pt idx="98">
                  <c:v>1108</c:v>
                </c:pt>
                <c:pt idx="99">
                  <c:v>1344</c:v>
                </c:pt>
                <c:pt idx="100">
                  <c:v>1637</c:v>
                </c:pt>
                <c:pt idx="101">
                  <c:v>600</c:v>
                </c:pt>
                <c:pt idx="102">
                  <c:v>384</c:v>
                </c:pt>
                <c:pt idx="103">
                  <c:v>1255</c:v>
                </c:pt>
                <c:pt idx="104">
                  <c:v>1553</c:v>
                </c:pt>
                <c:pt idx="105">
                  <c:v>1402</c:v>
                </c:pt>
                <c:pt idx="106">
                  <c:v>1304</c:v>
                </c:pt>
                <c:pt idx="107">
                  <c:v>1840</c:v>
                </c:pt>
                <c:pt idx="108">
                  <c:v>469</c:v>
                </c:pt>
                <c:pt idx="109">
                  <c:v>191</c:v>
                </c:pt>
                <c:pt idx="110">
                  <c:v>858</c:v>
                </c:pt>
                <c:pt idx="111">
                  <c:v>856</c:v>
                </c:pt>
                <c:pt idx="112">
                  <c:v>788</c:v>
                </c:pt>
                <c:pt idx="113">
                  <c:v>1027</c:v>
                </c:pt>
                <c:pt idx="114">
                  <c:v>732</c:v>
                </c:pt>
                <c:pt idx="115">
                  <c:v>212</c:v>
                </c:pt>
                <c:pt idx="116">
                  <c:v>356</c:v>
                </c:pt>
                <c:pt idx="117">
                  <c:v>412</c:v>
                </c:pt>
                <c:pt idx="118">
                  <c:v>927</c:v>
                </c:pt>
                <c:pt idx="119">
                  <c:v>900</c:v>
                </c:pt>
                <c:pt idx="120">
                  <c:v>922</c:v>
                </c:pt>
                <c:pt idx="121">
                  <c:v>723</c:v>
                </c:pt>
                <c:pt idx="122">
                  <c:v>187</c:v>
                </c:pt>
                <c:pt idx="123">
                  <c:v>142</c:v>
                </c:pt>
                <c:pt idx="124">
                  <c:v>275</c:v>
                </c:pt>
                <c:pt idx="125">
                  <c:v>414</c:v>
                </c:pt>
                <c:pt idx="126">
                  <c:v>475</c:v>
                </c:pt>
                <c:pt idx="127">
                  <c:v>636</c:v>
                </c:pt>
                <c:pt idx="128">
                  <c:v>713</c:v>
                </c:pt>
                <c:pt idx="129">
                  <c:v>105</c:v>
                </c:pt>
                <c:pt idx="130">
                  <c:v>91</c:v>
                </c:pt>
                <c:pt idx="131">
                  <c:v>381</c:v>
                </c:pt>
                <c:pt idx="132">
                  <c:v>2573</c:v>
                </c:pt>
                <c:pt idx="133">
                  <c:v>2286</c:v>
                </c:pt>
                <c:pt idx="134">
                  <c:v>2347</c:v>
                </c:pt>
                <c:pt idx="135">
                  <c:v>1581</c:v>
                </c:pt>
                <c:pt idx="136">
                  <c:v>1447</c:v>
                </c:pt>
                <c:pt idx="137">
                  <c:v>1337</c:v>
                </c:pt>
                <c:pt idx="138">
                  <c:v>1336</c:v>
                </c:pt>
                <c:pt idx="139">
                  <c:v>1893</c:v>
                </c:pt>
                <c:pt idx="140">
                  <c:v>2293</c:v>
                </c:pt>
                <c:pt idx="141">
                  <c:v>2773</c:v>
                </c:pt>
                <c:pt idx="142">
                  <c:v>3310</c:v>
                </c:pt>
                <c:pt idx="143">
                  <c:v>2101</c:v>
                </c:pt>
                <c:pt idx="144">
                  <c:v>1716</c:v>
                </c:pt>
                <c:pt idx="145">
                  <c:v>2862</c:v>
                </c:pt>
                <c:pt idx="146">
                  <c:v>3003</c:v>
                </c:pt>
                <c:pt idx="147">
                  <c:v>2991</c:v>
                </c:pt>
                <c:pt idx="148">
                  <c:v>3548</c:v>
                </c:pt>
                <c:pt idx="149">
                  <c:v>4340</c:v>
                </c:pt>
                <c:pt idx="150">
                  <c:v>2374</c:v>
                </c:pt>
                <c:pt idx="151">
                  <c:v>918</c:v>
                </c:pt>
                <c:pt idx="152">
                  <c:v>2451</c:v>
                </c:pt>
                <c:pt idx="153">
                  <c:v>2620</c:v>
                </c:pt>
                <c:pt idx="154">
                  <c:v>2730</c:v>
                </c:pt>
                <c:pt idx="155">
                  <c:v>2642</c:v>
                </c:pt>
                <c:pt idx="156">
                  <c:v>3074</c:v>
                </c:pt>
                <c:pt idx="157">
                  <c:v>1272</c:v>
                </c:pt>
                <c:pt idx="158">
                  <c:v>1030</c:v>
                </c:pt>
                <c:pt idx="159">
                  <c:v>1872</c:v>
                </c:pt>
                <c:pt idx="160">
                  <c:v>1919</c:v>
                </c:pt>
                <c:pt idx="161">
                  <c:v>1881</c:v>
                </c:pt>
                <c:pt idx="162">
                  <c:v>1981</c:v>
                </c:pt>
                <c:pt idx="163">
                  <c:v>2722</c:v>
                </c:pt>
                <c:pt idx="164">
                  <c:v>819</c:v>
                </c:pt>
                <c:pt idx="165">
                  <c:v>645</c:v>
                </c:pt>
                <c:pt idx="166">
                  <c:v>2368</c:v>
                </c:pt>
                <c:pt idx="167">
                  <c:v>2438</c:v>
                </c:pt>
                <c:pt idx="168">
                  <c:v>2499</c:v>
                </c:pt>
                <c:pt idx="169">
                  <c:v>3077</c:v>
                </c:pt>
                <c:pt idx="170">
                  <c:v>3206</c:v>
                </c:pt>
                <c:pt idx="171">
                  <c:v>1192</c:v>
                </c:pt>
                <c:pt idx="172">
                  <c:v>816</c:v>
                </c:pt>
                <c:pt idx="173">
                  <c:v>2283</c:v>
                </c:pt>
                <c:pt idx="174">
                  <c:v>22581</c:v>
                </c:pt>
                <c:pt idx="175">
                  <c:v>22575</c:v>
                </c:pt>
                <c:pt idx="176">
                  <c:v>22575</c:v>
                </c:pt>
                <c:pt idx="177">
                  <c:v>22564</c:v>
                </c:pt>
                <c:pt idx="178">
                  <c:v>22463</c:v>
                </c:pt>
                <c:pt idx="179">
                  <c:v>22452</c:v>
                </c:pt>
                <c:pt idx="180">
                  <c:v>22536</c:v>
                </c:pt>
                <c:pt idx="181">
                  <c:v>22584</c:v>
                </c:pt>
                <c:pt idx="182">
                  <c:v>225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D85-47C2-92CB-D22E4A4C65D5}"/>
            </c:ext>
          </c:extLst>
        </c:ser>
        <c:ser>
          <c:idx val="7"/>
          <c:order val="7"/>
          <c:tx>
            <c:strRef>
              <c:f>List1!$I$1</c:f>
              <c:strCache>
                <c:ptCount val="1"/>
                <c:pt idx="0">
                  <c:v>11 50-54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I$5:$I$187</c:f>
              <c:numCache>
                <c:formatCode>General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74</c:v>
                </c:pt>
                <c:pt idx="19">
                  <c:v>198</c:v>
                </c:pt>
                <c:pt idx="20">
                  <c:v>270</c:v>
                </c:pt>
                <c:pt idx="21">
                  <c:v>259</c:v>
                </c:pt>
                <c:pt idx="22">
                  <c:v>197</c:v>
                </c:pt>
                <c:pt idx="23">
                  <c:v>107</c:v>
                </c:pt>
                <c:pt idx="24">
                  <c:v>113</c:v>
                </c:pt>
                <c:pt idx="25">
                  <c:v>109</c:v>
                </c:pt>
                <c:pt idx="26">
                  <c:v>325</c:v>
                </c:pt>
                <c:pt idx="27">
                  <c:v>520</c:v>
                </c:pt>
                <c:pt idx="28">
                  <c:v>600</c:v>
                </c:pt>
                <c:pt idx="29">
                  <c:v>721</c:v>
                </c:pt>
                <c:pt idx="30">
                  <c:v>930</c:v>
                </c:pt>
                <c:pt idx="31">
                  <c:v>103</c:v>
                </c:pt>
                <c:pt idx="32">
                  <c:v>119</c:v>
                </c:pt>
                <c:pt idx="33">
                  <c:v>874</c:v>
                </c:pt>
                <c:pt idx="34">
                  <c:v>1095</c:v>
                </c:pt>
                <c:pt idx="35">
                  <c:v>1188</c:v>
                </c:pt>
                <c:pt idx="36">
                  <c:v>1363</c:v>
                </c:pt>
                <c:pt idx="37">
                  <c:v>1189</c:v>
                </c:pt>
                <c:pt idx="38">
                  <c:v>147</c:v>
                </c:pt>
                <c:pt idx="39">
                  <c:v>114</c:v>
                </c:pt>
                <c:pt idx="40">
                  <c:v>917</c:v>
                </c:pt>
                <c:pt idx="41">
                  <c:v>856</c:v>
                </c:pt>
                <c:pt idx="42">
                  <c:v>889</c:v>
                </c:pt>
                <c:pt idx="43">
                  <c:v>928</c:v>
                </c:pt>
                <c:pt idx="44">
                  <c:v>822</c:v>
                </c:pt>
                <c:pt idx="45">
                  <c:v>116</c:v>
                </c:pt>
                <c:pt idx="46">
                  <c:v>28</c:v>
                </c:pt>
                <c:pt idx="47">
                  <c:v>509</c:v>
                </c:pt>
                <c:pt idx="48">
                  <c:v>489</c:v>
                </c:pt>
                <c:pt idx="49">
                  <c:v>468</c:v>
                </c:pt>
                <c:pt idx="50">
                  <c:v>458</c:v>
                </c:pt>
                <c:pt idx="51">
                  <c:v>363</c:v>
                </c:pt>
                <c:pt idx="52">
                  <c:v>14</c:v>
                </c:pt>
                <c:pt idx="53">
                  <c:v>19</c:v>
                </c:pt>
                <c:pt idx="54">
                  <c:v>272</c:v>
                </c:pt>
                <c:pt idx="55">
                  <c:v>313</c:v>
                </c:pt>
                <c:pt idx="56">
                  <c:v>269</c:v>
                </c:pt>
                <c:pt idx="57">
                  <c:v>235</c:v>
                </c:pt>
                <c:pt idx="58">
                  <c:v>246</c:v>
                </c:pt>
                <c:pt idx="59">
                  <c:v>7</c:v>
                </c:pt>
                <c:pt idx="60">
                  <c:v>11</c:v>
                </c:pt>
                <c:pt idx="61">
                  <c:v>131</c:v>
                </c:pt>
                <c:pt idx="62">
                  <c:v>151</c:v>
                </c:pt>
                <c:pt idx="63">
                  <c:v>212</c:v>
                </c:pt>
                <c:pt idx="64">
                  <c:v>198</c:v>
                </c:pt>
                <c:pt idx="65">
                  <c:v>220</c:v>
                </c:pt>
                <c:pt idx="66">
                  <c:v>8</c:v>
                </c:pt>
                <c:pt idx="67">
                  <c:v>8</c:v>
                </c:pt>
                <c:pt idx="68">
                  <c:v>185</c:v>
                </c:pt>
                <c:pt idx="69">
                  <c:v>228</c:v>
                </c:pt>
                <c:pt idx="70">
                  <c:v>362</c:v>
                </c:pt>
                <c:pt idx="71">
                  <c:v>467</c:v>
                </c:pt>
                <c:pt idx="72">
                  <c:v>459</c:v>
                </c:pt>
                <c:pt idx="73">
                  <c:v>28</c:v>
                </c:pt>
                <c:pt idx="74">
                  <c:v>82</c:v>
                </c:pt>
                <c:pt idx="75">
                  <c:v>371</c:v>
                </c:pt>
                <c:pt idx="76">
                  <c:v>386</c:v>
                </c:pt>
                <c:pt idx="77">
                  <c:v>493</c:v>
                </c:pt>
                <c:pt idx="78">
                  <c:v>541</c:v>
                </c:pt>
                <c:pt idx="79">
                  <c:v>584</c:v>
                </c:pt>
                <c:pt idx="80">
                  <c:v>61</c:v>
                </c:pt>
                <c:pt idx="81">
                  <c:v>42</c:v>
                </c:pt>
                <c:pt idx="82">
                  <c:v>652</c:v>
                </c:pt>
                <c:pt idx="83">
                  <c:v>675</c:v>
                </c:pt>
                <c:pt idx="84">
                  <c:v>766</c:v>
                </c:pt>
                <c:pt idx="85">
                  <c:v>779</c:v>
                </c:pt>
                <c:pt idx="86">
                  <c:v>919</c:v>
                </c:pt>
                <c:pt idx="87">
                  <c:v>211</c:v>
                </c:pt>
                <c:pt idx="88">
                  <c:v>243</c:v>
                </c:pt>
                <c:pt idx="89">
                  <c:v>993</c:v>
                </c:pt>
                <c:pt idx="90">
                  <c:v>1270</c:v>
                </c:pt>
                <c:pt idx="91">
                  <c:v>1186</c:v>
                </c:pt>
                <c:pt idx="92">
                  <c:v>1429</c:v>
                </c:pt>
                <c:pt idx="93">
                  <c:v>531</c:v>
                </c:pt>
                <c:pt idx="94">
                  <c:v>518</c:v>
                </c:pt>
                <c:pt idx="95">
                  <c:v>415</c:v>
                </c:pt>
                <c:pt idx="96">
                  <c:v>359</c:v>
                </c:pt>
                <c:pt idx="97">
                  <c:v>1473</c:v>
                </c:pt>
                <c:pt idx="98">
                  <c:v>1020</c:v>
                </c:pt>
                <c:pt idx="99">
                  <c:v>1227</c:v>
                </c:pt>
                <c:pt idx="100">
                  <c:v>1438</c:v>
                </c:pt>
                <c:pt idx="101">
                  <c:v>615</c:v>
                </c:pt>
                <c:pt idx="102">
                  <c:v>535</c:v>
                </c:pt>
                <c:pt idx="103">
                  <c:v>1118</c:v>
                </c:pt>
                <c:pt idx="104">
                  <c:v>1513</c:v>
                </c:pt>
                <c:pt idx="105">
                  <c:v>1324</c:v>
                </c:pt>
                <c:pt idx="106">
                  <c:v>1177</c:v>
                </c:pt>
                <c:pt idx="107">
                  <c:v>1547</c:v>
                </c:pt>
                <c:pt idx="108">
                  <c:v>720</c:v>
                </c:pt>
                <c:pt idx="109">
                  <c:v>195</c:v>
                </c:pt>
                <c:pt idx="110">
                  <c:v>673</c:v>
                </c:pt>
                <c:pt idx="111">
                  <c:v>753</c:v>
                </c:pt>
                <c:pt idx="112">
                  <c:v>610</c:v>
                </c:pt>
                <c:pt idx="113">
                  <c:v>847</c:v>
                </c:pt>
                <c:pt idx="114">
                  <c:v>626</c:v>
                </c:pt>
                <c:pt idx="115">
                  <c:v>186</c:v>
                </c:pt>
                <c:pt idx="116">
                  <c:v>184</c:v>
                </c:pt>
                <c:pt idx="117">
                  <c:v>303</c:v>
                </c:pt>
                <c:pt idx="118">
                  <c:v>661</c:v>
                </c:pt>
                <c:pt idx="119">
                  <c:v>717</c:v>
                </c:pt>
                <c:pt idx="120">
                  <c:v>801</c:v>
                </c:pt>
                <c:pt idx="121">
                  <c:v>669</c:v>
                </c:pt>
                <c:pt idx="122">
                  <c:v>195</c:v>
                </c:pt>
                <c:pt idx="123">
                  <c:v>192</c:v>
                </c:pt>
                <c:pt idx="124">
                  <c:v>290</c:v>
                </c:pt>
                <c:pt idx="125">
                  <c:v>406</c:v>
                </c:pt>
                <c:pt idx="126">
                  <c:v>529</c:v>
                </c:pt>
                <c:pt idx="127">
                  <c:v>585</c:v>
                </c:pt>
                <c:pt idx="128">
                  <c:v>653</c:v>
                </c:pt>
                <c:pt idx="129">
                  <c:v>93</c:v>
                </c:pt>
                <c:pt idx="130">
                  <c:v>108</c:v>
                </c:pt>
                <c:pt idx="131">
                  <c:v>427</c:v>
                </c:pt>
                <c:pt idx="132">
                  <c:v>2035</c:v>
                </c:pt>
                <c:pt idx="133">
                  <c:v>1878</c:v>
                </c:pt>
                <c:pt idx="134">
                  <c:v>2043</c:v>
                </c:pt>
                <c:pt idx="135">
                  <c:v>1496</c:v>
                </c:pt>
                <c:pt idx="136">
                  <c:v>1286</c:v>
                </c:pt>
                <c:pt idx="137">
                  <c:v>1233</c:v>
                </c:pt>
                <c:pt idx="138">
                  <c:v>1242</c:v>
                </c:pt>
                <c:pt idx="139">
                  <c:v>1798</c:v>
                </c:pt>
                <c:pt idx="140">
                  <c:v>2138</c:v>
                </c:pt>
                <c:pt idx="141">
                  <c:v>2421</c:v>
                </c:pt>
                <c:pt idx="142">
                  <c:v>2711</c:v>
                </c:pt>
                <c:pt idx="143">
                  <c:v>1699</c:v>
                </c:pt>
                <c:pt idx="144">
                  <c:v>1403</c:v>
                </c:pt>
                <c:pt idx="145">
                  <c:v>2497</c:v>
                </c:pt>
                <c:pt idx="146">
                  <c:v>2687</c:v>
                </c:pt>
                <c:pt idx="147">
                  <c:v>2629</c:v>
                </c:pt>
                <c:pt idx="148">
                  <c:v>3134</c:v>
                </c:pt>
                <c:pt idx="149">
                  <c:v>2461</c:v>
                </c:pt>
                <c:pt idx="150">
                  <c:v>1103</c:v>
                </c:pt>
                <c:pt idx="151">
                  <c:v>734</c:v>
                </c:pt>
                <c:pt idx="152">
                  <c:v>2330</c:v>
                </c:pt>
                <c:pt idx="153">
                  <c:v>2381</c:v>
                </c:pt>
                <c:pt idx="154">
                  <c:v>2572</c:v>
                </c:pt>
                <c:pt idx="155">
                  <c:v>2555</c:v>
                </c:pt>
                <c:pt idx="156">
                  <c:v>2958</c:v>
                </c:pt>
                <c:pt idx="157">
                  <c:v>1060</c:v>
                </c:pt>
                <c:pt idx="158">
                  <c:v>814</c:v>
                </c:pt>
                <c:pt idx="159">
                  <c:v>1659</c:v>
                </c:pt>
                <c:pt idx="160">
                  <c:v>1847</c:v>
                </c:pt>
                <c:pt idx="161">
                  <c:v>1750</c:v>
                </c:pt>
                <c:pt idx="162">
                  <c:v>1867</c:v>
                </c:pt>
                <c:pt idx="163">
                  <c:v>2330</c:v>
                </c:pt>
                <c:pt idx="164">
                  <c:v>724</c:v>
                </c:pt>
                <c:pt idx="165">
                  <c:v>557</c:v>
                </c:pt>
                <c:pt idx="166">
                  <c:v>2061</c:v>
                </c:pt>
                <c:pt idx="167">
                  <c:v>2261</c:v>
                </c:pt>
                <c:pt idx="168">
                  <c:v>3061</c:v>
                </c:pt>
                <c:pt idx="169">
                  <c:v>8939</c:v>
                </c:pt>
                <c:pt idx="170">
                  <c:v>11236</c:v>
                </c:pt>
                <c:pt idx="171">
                  <c:v>7393</c:v>
                </c:pt>
                <c:pt idx="172">
                  <c:v>6399</c:v>
                </c:pt>
                <c:pt idx="173">
                  <c:v>21323</c:v>
                </c:pt>
                <c:pt idx="174">
                  <c:v>19880</c:v>
                </c:pt>
                <c:pt idx="175">
                  <c:v>19905</c:v>
                </c:pt>
                <c:pt idx="176">
                  <c:v>19883</c:v>
                </c:pt>
                <c:pt idx="177">
                  <c:v>19870</c:v>
                </c:pt>
                <c:pt idx="178">
                  <c:v>19757</c:v>
                </c:pt>
                <c:pt idx="179">
                  <c:v>19740</c:v>
                </c:pt>
                <c:pt idx="180">
                  <c:v>19832</c:v>
                </c:pt>
                <c:pt idx="181">
                  <c:v>19882</c:v>
                </c:pt>
                <c:pt idx="182">
                  <c:v>198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3D85-47C2-92CB-D22E4A4C65D5}"/>
            </c:ext>
          </c:extLst>
        </c:ser>
        <c:ser>
          <c:idx val="8"/>
          <c:order val="8"/>
          <c:tx>
            <c:strRef>
              <c:f>List1!$J$1</c:f>
              <c:strCache>
                <c:ptCount val="1"/>
                <c:pt idx="0">
                  <c:v>12 55-59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J$5:$J$187</c:f>
              <c:numCache>
                <c:formatCode>General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52</c:v>
                </c:pt>
                <c:pt idx="19">
                  <c:v>144</c:v>
                </c:pt>
                <c:pt idx="20">
                  <c:v>264</c:v>
                </c:pt>
                <c:pt idx="21">
                  <c:v>284</c:v>
                </c:pt>
                <c:pt idx="22">
                  <c:v>176</c:v>
                </c:pt>
                <c:pt idx="23">
                  <c:v>111</c:v>
                </c:pt>
                <c:pt idx="24">
                  <c:v>96</c:v>
                </c:pt>
                <c:pt idx="25">
                  <c:v>93</c:v>
                </c:pt>
                <c:pt idx="26">
                  <c:v>340</c:v>
                </c:pt>
                <c:pt idx="27">
                  <c:v>457</c:v>
                </c:pt>
                <c:pt idx="28">
                  <c:v>519</c:v>
                </c:pt>
                <c:pt idx="29">
                  <c:v>641</c:v>
                </c:pt>
                <c:pt idx="30">
                  <c:v>840</c:v>
                </c:pt>
                <c:pt idx="31">
                  <c:v>124</c:v>
                </c:pt>
                <c:pt idx="32">
                  <c:v>107</c:v>
                </c:pt>
                <c:pt idx="33">
                  <c:v>828</c:v>
                </c:pt>
                <c:pt idx="34">
                  <c:v>1030</c:v>
                </c:pt>
                <c:pt idx="35">
                  <c:v>1174</c:v>
                </c:pt>
                <c:pt idx="36">
                  <c:v>1317</c:v>
                </c:pt>
                <c:pt idx="37">
                  <c:v>1071</c:v>
                </c:pt>
                <c:pt idx="38">
                  <c:v>133</c:v>
                </c:pt>
                <c:pt idx="39">
                  <c:v>129</c:v>
                </c:pt>
                <c:pt idx="40">
                  <c:v>918</c:v>
                </c:pt>
                <c:pt idx="41">
                  <c:v>851</c:v>
                </c:pt>
                <c:pt idx="42">
                  <c:v>932</c:v>
                </c:pt>
                <c:pt idx="43">
                  <c:v>961</c:v>
                </c:pt>
                <c:pt idx="44">
                  <c:v>791</c:v>
                </c:pt>
                <c:pt idx="45">
                  <c:v>123</c:v>
                </c:pt>
                <c:pt idx="46">
                  <c:v>26</c:v>
                </c:pt>
                <c:pt idx="47">
                  <c:v>471</c:v>
                </c:pt>
                <c:pt idx="48">
                  <c:v>452</c:v>
                </c:pt>
                <c:pt idx="49">
                  <c:v>496</c:v>
                </c:pt>
                <c:pt idx="50">
                  <c:v>462</c:v>
                </c:pt>
                <c:pt idx="51">
                  <c:v>381</c:v>
                </c:pt>
                <c:pt idx="52">
                  <c:v>13</c:v>
                </c:pt>
                <c:pt idx="53">
                  <c:v>20</c:v>
                </c:pt>
                <c:pt idx="54">
                  <c:v>283</c:v>
                </c:pt>
                <c:pt idx="55">
                  <c:v>326</c:v>
                </c:pt>
                <c:pt idx="56">
                  <c:v>251</c:v>
                </c:pt>
                <c:pt idx="57">
                  <c:v>232</c:v>
                </c:pt>
                <c:pt idx="58">
                  <c:v>275</c:v>
                </c:pt>
                <c:pt idx="59">
                  <c:v>12</c:v>
                </c:pt>
                <c:pt idx="60">
                  <c:v>9</c:v>
                </c:pt>
                <c:pt idx="61">
                  <c:v>105</c:v>
                </c:pt>
                <c:pt idx="62">
                  <c:v>171</c:v>
                </c:pt>
                <c:pt idx="63">
                  <c:v>236</c:v>
                </c:pt>
                <c:pt idx="64">
                  <c:v>197</c:v>
                </c:pt>
                <c:pt idx="65">
                  <c:v>247</c:v>
                </c:pt>
                <c:pt idx="66">
                  <c:v>12</c:v>
                </c:pt>
                <c:pt idx="67">
                  <c:v>15</c:v>
                </c:pt>
                <c:pt idx="68">
                  <c:v>185</c:v>
                </c:pt>
                <c:pt idx="69">
                  <c:v>259</c:v>
                </c:pt>
                <c:pt idx="70">
                  <c:v>326</c:v>
                </c:pt>
                <c:pt idx="71">
                  <c:v>435</c:v>
                </c:pt>
                <c:pt idx="72">
                  <c:v>497</c:v>
                </c:pt>
                <c:pt idx="73">
                  <c:v>44</c:v>
                </c:pt>
                <c:pt idx="74">
                  <c:v>77</c:v>
                </c:pt>
                <c:pt idx="75">
                  <c:v>360</c:v>
                </c:pt>
                <c:pt idx="76">
                  <c:v>383</c:v>
                </c:pt>
                <c:pt idx="77">
                  <c:v>422</c:v>
                </c:pt>
                <c:pt idx="78">
                  <c:v>471</c:v>
                </c:pt>
                <c:pt idx="79">
                  <c:v>570</c:v>
                </c:pt>
                <c:pt idx="80">
                  <c:v>59</c:v>
                </c:pt>
                <c:pt idx="81">
                  <c:v>42</c:v>
                </c:pt>
                <c:pt idx="82">
                  <c:v>927</c:v>
                </c:pt>
                <c:pt idx="83">
                  <c:v>965</c:v>
                </c:pt>
                <c:pt idx="84">
                  <c:v>1159</c:v>
                </c:pt>
                <c:pt idx="85">
                  <c:v>1218</c:v>
                </c:pt>
                <c:pt idx="86">
                  <c:v>1188</c:v>
                </c:pt>
                <c:pt idx="87">
                  <c:v>418</c:v>
                </c:pt>
                <c:pt idx="88">
                  <c:v>291</c:v>
                </c:pt>
                <c:pt idx="89">
                  <c:v>1414</c:v>
                </c:pt>
                <c:pt idx="90">
                  <c:v>1512</c:v>
                </c:pt>
                <c:pt idx="91">
                  <c:v>1651</c:v>
                </c:pt>
                <c:pt idx="92">
                  <c:v>1866</c:v>
                </c:pt>
                <c:pt idx="93">
                  <c:v>737</c:v>
                </c:pt>
                <c:pt idx="94">
                  <c:v>674</c:v>
                </c:pt>
                <c:pt idx="95">
                  <c:v>557</c:v>
                </c:pt>
                <c:pt idx="96">
                  <c:v>360</c:v>
                </c:pt>
                <c:pt idx="97">
                  <c:v>1958</c:v>
                </c:pt>
                <c:pt idx="98">
                  <c:v>1569</c:v>
                </c:pt>
                <c:pt idx="99">
                  <c:v>1391</c:v>
                </c:pt>
                <c:pt idx="100">
                  <c:v>1732</c:v>
                </c:pt>
                <c:pt idx="101">
                  <c:v>614</c:v>
                </c:pt>
                <c:pt idx="102">
                  <c:v>407</c:v>
                </c:pt>
                <c:pt idx="103">
                  <c:v>1194</c:v>
                </c:pt>
                <c:pt idx="104">
                  <c:v>1308</c:v>
                </c:pt>
                <c:pt idx="105">
                  <c:v>1297</c:v>
                </c:pt>
                <c:pt idx="106">
                  <c:v>1199</c:v>
                </c:pt>
                <c:pt idx="107">
                  <c:v>1686</c:v>
                </c:pt>
                <c:pt idx="108">
                  <c:v>682</c:v>
                </c:pt>
                <c:pt idx="109">
                  <c:v>186</c:v>
                </c:pt>
                <c:pt idx="110">
                  <c:v>789</c:v>
                </c:pt>
                <c:pt idx="111">
                  <c:v>812</c:v>
                </c:pt>
                <c:pt idx="112">
                  <c:v>724</c:v>
                </c:pt>
                <c:pt idx="113">
                  <c:v>1072</c:v>
                </c:pt>
                <c:pt idx="114">
                  <c:v>677</c:v>
                </c:pt>
                <c:pt idx="115">
                  <c:v>188</c:v>
                </c:pt>
                <c:pt idx="116">
                  <c:v>344</c:v>
                </c:pt>
                <c:pt idx="117">
                  <c:v>441</c:v>
                </c:pt>
                <c:pt idx="118">
                  <c:v>728</c:v>
                </c:pt>
                <c:pt idx="119">
                  <c:v>831</c:v>
                </c:pt>
                <c:pt idx="120">
                  <c:v>911</c:v>
                </c:pt>
                <c:pt idx="121">
                  <c:v>688</c:v>
                </c:pt>
                <c:pt idx="122">
                  <c:v>226</c:v>
                </c:pt>
                <c:pt idx="123">
                  <c:v>151</c:v>
                </c:pt>
                <c:pt idx="124">
                  <c:v>282</c:v>
                </c:pt>
                <c:pt idx="125">
                  <c:v>443</c:v>
                </c:pt>
                <c:pt idx="126">
                  <c:v>551</c:v>
                </c:pt>
                <c:pt idx="127">
                  <c:v>652</c:v>
                </c:pt>
                <c:pt idx="128">
                  <c:v>707</c:v>
                </c:pt>
                <c:pt idx="129">
                  <c:v>119</c:v>
                </c:pt>
                <c:pt idx="130">
                  <c:v>102</c:v>
                </c:pt>
                <c:pt idx="131">
                  <c:v>491</c:v>
                </c:pt>
                <c:pt idx="132">
                  <c:v>2034</c:v>
                </c:pt>
                <c:pt idx="133">
                  <c:v>1991</c:v>
                </c:pt>
                <c:pt idx="134">
                  <c:v>2125</c:v>
                </c:pt>
                <c:pt idx="135">
                  <c:v>1388</c:v>
                </c:pt>
                <c:pt idx="136">
                  <c:v>1180</c:v>
                </c:pt>
                <c:pt idx="137">
                  <c:v>1129</c:v>
                </c:pt>
                <c:pt idx="138">
                  <c:v>1104</c:v>
                </c:pt>
                <c:pt idx="139">
                  <c:v>1710</c:v>
                </c:pt>
                <c:pt idx="140">
                  <c:v>1963</c:v>
                </c:pt>
                <c:pt idx="141">
                  <c:v>2412</c:v>
                </c:pt>
                <c:pt idx="142">
                  <c:v>2693</c:v>
                </c:pt>
                <c:pt idx="143">
                  <c:v>1786</c:v>
                </c:pt>
                <c:pt idx="144">
                  <c:v>398</c:v>
                </c:pt>
                <c:pt idx="145">
                  <c:v>1705</c:v>
                </c:pt>
                <c:pt idx="146">
                  <c:v>1603</c:v>
                </c:pt>
                <c:pt idx="147">
                  <c:v>1616</c:v>
                </c:pt>
                <c:pt idx="148">
                  <c:v>2422</c:v>
                </c:pt>
                <c:pt idx="149">
                  <c:v>2584</c:v>
                </c:pt>
                <c:pt idx="150">
                  <c:v>1120</c:v>
                </c:pt>
                <c:pt idx="151">
                  <c:v>827</c:v>
                </c:pt>
                <c:pt idx="152">
                  <c:v>2413</c:v>
                </c:pt>
                <c:pt idx="153">
                  <c:v>3568</c:v>
                </c:pt>
                <c:pt idx="154">
                  <c:v>3074</c:v>
                </c:pt>
                <c:pt idx="155">
                  <c:v>3132</c:v>
                </c:pt>
                <c:pt idx="156">
                  <c:v>3222</c:v>
                </c:pt>
                <c:pt idx="157">
                  <c:v>1161</c:v>
                </c:pt>
                <c:pt idx="158">
                  <c:v>847</c:v>
                </c:pt>
                <c:pt idx="159">
                  <c:v>2070</c:v>
                </c:pt>
                <c:pt idx="160">
                  <c:v>1987</c:v>
                </c:pt>
                <c:pt idx="161">
                  <c:v>2244</c:v>
                </c:pt>
                <c:pt idx="162">
                  <c:v>5380</c:v>
                </c:pt>
                <c:pt idx="163">
                  <c:v>7461</c:v>
                </c:pt>
                <c:pt idx="164">
                  <c:v>4294</c:v>
                </c:pt>
                <c:pt idx="165">
                  <c:v>4174</c:v>
                </c:pt>
                <c:pt idx="166">
                  <c:v>17212</c:v>
                </c:pt>
                <c:pt idx="167">
                  <c:v>18920</c:v>
                </c:pt>
                <c:pt idx="168">
                  <c:v>20860</c:v>
                </c:pt>
                <c:pt idx="169">
                  <c:v>21587</c:v>
                </c:pt>
                <c:pt idx="170">
                  <c:v>20964</c:v>
                </c:pt>
                <c:pt idx="171">
                  <c:v>7378</c:v>
                </c:pt>
                <c:pt idx="172">
                  <c:v>6415</c:v>
                </c:pt>
                <c:pt idx="173">
                  <c:v>14278</c:v>
                </c:pt>
                <c:pt idx="174">
                  <c:v>18108</c:v>
                </c:pt>
                <c:pt idx="175">
                  <c:v>18140</c:v>
                </c:pt>
                <c:pt idx="176">
                  <c:v>18119</c:v>
                </c:pt>
                <c:pt idx="177">
                  <c:v>18087</c:v>
                </c:pt>
                <c:pt idx="178">
                  <c:v>17946</c:v>
                </c:pt>
                <c:pt idx="179">
                  <c:v>17922</c:v>
                </c:pt>
                <c:pt idx="180">
                  <c:v>18059</c:v>
                </c:pt>
                <c:pt idx="181">
                  <c:v>18095</c:v>
                </c:pt>
                <c:pt idx="182">
                  <c:v>181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D85-47C2-92CB-D22E4A4C65D5}"/>
            </c:ext>
          </c:extLst>
        </c:ser>
        <c:ser>
          <c:idx val="9"/>
          <c:order val="9"/>
          <c:tx>
            <c:strRef>
              <c:f>List1!$K$1</c:f>
              <c:strCache>
                <c:ptCount val="1"/>
                <c:pt idx="0">
                  <c:v>13 60-64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K$5:$K$187</c:f>
              <c:numCache>
                <c:formatCode>General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55</c:v>
                </c:pt>
                <c:pt idx="19">
                  <c:v>146</c:v>
                </c:pt>
                <c:pt idx="20">
                  <c:v>184</c:v>
                </c:pt>
                <c:pt idx="21">
                  <c:v>224</c:v>
                </c:pt>
                <c:pt idx="22">
                  <c:v>141</c:v>
                </c:pt>
                <c:pt idx="23">
                  <c:v>67</c:v>
                </c:pt>
                <c:pt idx="24">
                  <c:v>76</c:v>
                </c:pt>
                <c:pt idx="25">
                  <c:v>61</c:v>
                </c:pt>
                <c:pt idx="26">
                  <c:v>209</c:v>
                </c:pt>
                <c:pt idx="27">
                  <c:v>299</c:v>
                </c:pt>
                <c:pt idx="28">
                  <c:v>376</c:v>
                </c:pt>
                <c:pt idx="29">
                  <c:v>511</c:v>
                </c:pt>
                <c:pt idx="30">
                  <c:v>638</c:v>
                </c:pt>
                <c:pt idx="31">
                  <c:v>98</c:v>
                </c:pt>
                <c:pt idx="32">
                  <c:v>92</c:v>
                </c:pt>
                <c:pt idx="33">
                  <c:v>651</c:v>
                </c:pt>
                <c:pt idx="34">
                  <c:v>810</c:v>
                </c:pt>
                <c:pt idx="35">
                  <c:v>795</c:v>
                </c:pt>
                <c:pt idx="36">
                  <c:v>961</c:v>
                </c:pt>
                <c:pt idx="37">
                  <c:v>870</c:v>
                </c:pt>
                <c:pt idx="38">
                  <c:v>126</c:v>
                </c:pt>
                <c:pt idx="39">
                  <c:v>87</c:v>
                </c:pt>
                <c:pt idx="40">
                  <c:v>785</c:v>
                </c:pt>
                <c:pt idx="41">
                  <c:v>687</c:v>
                </c:pt>
                <c:pt idx="42">
                  <c:v>759</c:v>
                </c:pt>
                <c:pt idx="43">
                  <c:v>792</c:v>
                </c:pt>
                <c:pt idx="44">
                  <c:v>629</c:v>
                </c:pt>
                <c:pt idx="45">
                  <c:v>90</c:v>
                </c:pt>
                <c:pt idx="46">
                  <c:v>24</c:v>
                </c:pt>
                <c:pt idx="47">
                  <c:v>398</c:v>
                </c:pt>
                <c:pt idx="48">
                  <c:v>364</c:v>
                </c:pt>
                <c:pt idx="49">
                  <c:v>354</c:v>
                </c:pt>
                <c:pt idx="50">
                  <c:v>368</c:v>
                </c:pt>
                <c:pt idx="51">
                  <c:v>260</c:v>
                </c:pt>
                <c:pt idx="52">
                  <c:v>15</c:v>
                </c:pt>
                <c:pt idx="53">
                  <c:v>12</c:v>
                </c:pt>
                <c:pt idx="54">
                  <c:v>224</c:v>
                </c:pt>
                <c:pt idx="55">
                  <c:v>294</c:v>
                </c:pt>
                <c:pt idx="56">
                  <c:v>206</c:v>
                </c:pt>
                <c:pt idx="57">
                  <c:v>201</c:v>
                </c:pt>
                <c:pt idx="58">
                  <c:v>207</c:v>
                </c:pt>
                <c:pt idx="59">
                  <c:v>11</c:v>
                </c:pt>
                <c:pt idx="60">
                  <c:v>11</c:v>
                </c:pt>
                <c:pt idx="61">
                  <c:v>102</c:v>
                </c:pt>
                <c:pt idx="62">
                  <c:v>118</c:v>
                </c:pt>
                <c:pt idx="63">
                  <c:v>178</c:v>
                </c:pt>
                <c:pt idx="64">
                  <c:v>151</c:v>
                </c:pt>
                <c:pt idx="65">
                  <c:v>221</c:v>
                </c:pt>
                <c:pt idx="66">
                  <c:v>7</c:v>
                </c:pt>
                <c:pt idx="67">
                  <c:v>9</c:v>
                </c:pt>
                <c:pt idx="68">
                  <c:v>139</c:v>
                </c:pt>
                <c:pt idx="69">
                  <c:v>204</c:v>
                </c:pt>
                <c:pt idx="70">
                  <c:v>246</c:v>
                </c:pt>
                <c:pt idx="71">
                  <c:v>387</c:v>
                </c:pt>
                <c:pt idx="72">
                  <c:v>363</c:v>
                </c:pt>
                <c:pt idx="73">
                  <c:v>45</c:v>
                </c:pt>
                <c:pt idx="74">
                  <c:v>71</c:v>
                </c:pt>
                <c:pt idx="75">
                  <c:v>292</c:v>
                </c:pt>
                <c:pt idx="76">
                  <c:v>318</c:v>
                </c:pt>
                <c:pt idx="77">
                  <c:v>394</c:v>
                </c:pt>
                <c:pt idx="78">
                  <c:v>412</c:v>
                </c:pt>
                <c:pt idx="79">
                  <c:v>478</c:v>
                </c:pt>
                <c:pt idx="80">
                  <c:v>44</c:v>
                </c:pt>
                <c:pt idx="81">
                  <c:v>34</c:v>
                </c:pt>
                <c:pt idx="82">
                  <c:v>792</c:v>
                </c:pt>
                <c:pt idx="83">
                  <c:v>900</c:v>
                </c:pt>
                <c:pt idx="84">
                  <c:v>1055</c:v>
                </c:pt>
                <c:pt idx="85">
                  <c:v>1123</c:v>
                </c:pt>
                <c:pt idx="86">
                  <c:v>942</c:v>
                </c:pt>
                <c:pt idx="87">
                  <c:v>206</c:v>
                </c:pt>
                <c:pt idx="88">
                  <c:v>198</c:v>
                </c:pt>
                <c:pt idx="89">
                  <c:v>1293</c:v>
                </c:pt>
                <c:pt idx="90">
                  <c:v>1405</c:v>
                </c:pt>
                <c:pt idx="91">
                  <c:v>1273</c:v>
                </c:pt>
                <c:pt idx="92">
                  <c:v>1562</c:v>
                </c:pt>
                <c:pt idx="93">
                  <c:v>459</c:v>
                </c:pt>
                <c:pt idx="94">
                  <c:v>515</c:v>
                </c:pt>
                <c:pt idx="95">
                  <c:v>325</c:v>
                </c:pt>
                <c:pt idx="96">
                  <c:v>329</c:v>
                </c:pt>
                <c:pt idx="97">
                  <c:v>1399</c:v>
                </c:pt>
                <c:pt idx="98">
                  <c:v>979</c:v>
                </c:pt>
                <c:pt idx="99">
                  <c:v>965</c:v>
                </c:pt>
                <c:pt idx="100">
                  <c:v>1152</c:v>
                </c:pt>
                <c:pt idx="101">
                  <c:v>361</c:v>
                </c:pt>
                <c:pt idx="102">
                  <c:v>218</c:v>
                </c:pt>
                <c:pt idx="103">
                  <c:v>729</c:v>
                </c:pt>
                <c:pt idx="104">
                  <c:v>774</c:v>
                </c:pt>
                <c:pt idx="105">
                  <c:v>836</c:v>
                </c:pt>
                <c:pt idx="106">
                  <c:v>724</c:v>
                </c:pt>
                <c:pt idx="107">
                  <c:v>1143</c:v>
                </c:pt>
                <c:pt idx="108">
                  <c:v>296</c:v>
                </c:pt>
                <c:pt idx="109">
                  <c:v>169</c:v>
                </c:pt>
                <c:pt idx="110">
                  <c:v>596</c:v>
                </c:pt>
                <c:pt idx="111">
                  <c:v>570</c:v>
                </c:pt>
                <c:pt idx="112">
                  <c:v>633</c:v>
                </c:pt>
                <c:pt idx="113">
                  <c:v>892</c:v>
                </c:pt>
                <c:pt idx="114">
                  <c:v>655</c:v>
                </c:pt>
                <c:pt idx="115">
                  <c:v>161</c:v>
                </c:pt>
                <c:pt idx="116">
                  <c:v>152</c:v>
                </c:pt>
                <c:pt idx="117">
                  <c:v>503</c:v>
                </c:pt>
                <c:pt idx="118">
                  <c:v>730</c:v>
                </c:pt>
                <c:pt idx="119">
                  <c:v>921</c:v>
                </c:pt>
                <c:pt idx="120">
                  <c:v>1005</c:v>
                </c:pt>
                <c:pt idx="121">
                  <c:v>702</c:v>
                </c:pt>
                <c:pt idx="122">
                  <c:v>187</c:v>
                </c:pt>
                <c:pt idx="123">
                  <c:v>123</c:v>
                </c:pt>
                <c:pt idx="124">
                  <c:v>403</c:v>
                </c:pt>
                <c:pt idx="125">
                  <c:v>622</c:v>
                </c:pt>
                <c:pt idx="126">
                  <c:v>733</c:v>
                </c:pt>
                <c:pt idx="127">
                  <c:v>819</c:v>
                </c:pt>
                <c:pt idx="128">
                  <c:v>803</c:v>
                </c:pt>
                <c:pt idx="129">
                  <c:v>172</c:v>
                </c:pt>
                <c:pt idx="130">
                  <c:v>90</c:v>
                </c:pt>
                <c:pt idx="131">
                  <c:v>584</c:v>
                </c:pt>
                <c:pt idx="132">
                  <c:v>1766</c:v>
                </c:pt>
                <c:pt idx="133">
                  <c:v>1799</c:v>
                </c:pt>
                <c:pt idx="134">
                  <c:v>1894</c:v>
                </c:pt>
                <c:pt idx="135">
                  <c:v>1187</c:v>
                </c:pt>
                <c:pt idx="136">
                  <c:v>1033</c:v>
                </c:pt>
                <c:pt idx="137">
                  <c:v>965</c:v>
                </c:pt>
                <c:pt idx="138">
                  <c:v>967</c:v>
                </c:pt>
                <c:pt idx="139">
                  <c:v>1612</c:v>
                </c:pt>
                <c:pt idx="140">
                  <c:v>1850</c:v>
                </c:pt>
                <c:pt idx="141">
                  <c:v>2574</c:v>
                </c:pt>
                <c:pt idx="142">
                  <c:v>2500</c:v>
                </c:pt>
                <c:pt idx="143">
                  <c:v>1562</c:v>
                </c:pt>
                <c:pt idx="144">
                  <c:v>1310</c:v>
                </c:pt>
                <c:pt idx="145">
                  <c:v>2048</c:v>
                </c:pt>
                <c:pt idx="146">
                  <c:v>1740</c:v>
                </c:pt>
                <c:pt idx="147">
                  <c:v>1915</c:v>
                </c:pt>
                <c:pt idx="148">
                  <c:v>2918</c:v>
                </c:pt>
                <c:pt idx="149">
                  <c:v>3086</c:v>
                </c:pt>
                <c:pt idx="150">
                  <c:v>961</c:v>
                </c:pt>
                <c:pt idx="151">
                  <c:v>719</c:v>
                </c:pt>
                <c:pt idx="152">
                  <c:v>2715</c:v>
                </c:pt>
                <c:pt idx="153">
                  <c:v>3638</c:v>
                </c:pt>
                <c:pt idx="154">
                  <c:v>3403</c:v>
                </c:pt>
                <c:pt idx="155">
                  <c:v>3674</c:v>
                </c:pt>
                <c:pt idx="156">
                  <c:v>3465</c:v>
                </c:pt>
                <c:pt idx="157">
                  <c:v>1999</c:v>
                </c:pt>
                <c:pt idx="158">
                  <c:v>3077</c:v>
                </c:pt>
                <c:pt idx="159">
                  <c:v>7817</c:v>
                </c:pt>
                <c:pt idx="160">
                  <c:v>11202</c:v>
                </c:pt>
                <c:pt idx="161">
                  <c:v>15295</c:v>
                </c:pt>
                <c:pt idx="162">
                  <c:v>20532</c:v>
                </c:pt>
                <c:pt idx="163">
                  <c:v>20345</c:v>
                </c:pt>
                <c:pt idx="164">
                  <c:v>6782</c:v>
                </c:pt>
                <c:pt idx="165">
                  <c:v>5709</c:v>
                </c:pt>
                <c:pt idx="166">
                  <c:v>20694</c:v>
                </c:pt>
                <c:pt idx="167">
                  <c:v>16454</c:v>
                </c:pt>
                <c:pt idx="168">
                  <c:v>18202</c:v>
                </c:pt>
                <c:pt idx="169">
                  <c:v>16049</c:v>
                </c:pt>
                <c:pt idx="170">
                  <c:v>15686</c:v>
                </c:pt>
                <c:pt idx="171">
                  <c:v>4606</c:v>
                </c:pt>
                <c:pt idx="172">
                  <c:v>3892</c:v>
                </c:pt>
                <c:pt idx="173">
                  <c:v>10214</c:v>
                </c:pt>
                <c:pt idx="174">
                  <c:v>16122</c:v>
                </c:pt>
                <c:pt idx="175">
                  <c:v>16182</c:v>
                </c:pt>
                <c:pt idx="176">
                  <c:v>16204</c:v>
                </c:pt>
                <c:pt idx="177">
                  <c:v>16111</c:v>
                </c:pt>
                <c:pt idx="178">
                  <c:v>15881</c:v>
                </c:pt>
                <c:pt idx="179">
                  <c:v>15834</c:v>
                </c:pt>
                <c:pt idx="180">
                  <c:v>16050</c:v>
                </c:pt>
                <c:pt idx="181">
                  <c:v>16181</c:v>
                </c:pt>
                <c:pt idx="182">
                  <c:v>161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3D85-47C2-92CB-D22E4A4C65D5}"/>
            </c:ext>
          </c:extLst>
        </c:ser>
        <c:ser>
          <c:idx val="10"/>
          <c:order val="10"/>
          <c:tx>
            <c:strRef>
              <c:f>List1!$L$1</c:f>
              <c:strCache>
                <c:ptCount val="1"/>
                <c:pt idx="0">
                  <c:v>14 65-69</c:v>
                </c:pt>
              </c:strCache>
            </c:strRef>
          </c:tx>
          <c:spPr>
            <a:solidFill>
              <a:schemeClr val="accent5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L$5:$L$187</c:f>
              <c:numCache>
                <c:formatCode>General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27</c:v>
                </c:pt>
                <c:pt idx="19">
                  <c:v>119</c:v>
                </c:pt>
                <c:pt idx="20">
                  <c:v>160</c:v>
                </c:pt>
                <c:pt idx="21">
                  <c:v>136</c:v>
                </c:pt>
                <c:pt idx="22">
                  <c:v>79</c:v>
                </c:pt>
                <c:pt idx="23">
                  <c:v>41</c:v>
                </c:pt>
                <c:pt idx="24">
                  <c:v>38</c:v>
                </c:pt>
                <c:pt idx="25">
                  <c:v>44</c:v>
                </c:pt>
                <c:pt idx="26">
                  <c:v>162</c:v>
                </c:pt>
                <c:pt idx="27">
                  <c:v>180</c:v>
                </c:pt>
                <c:pt idx="28">
                  <c:v>190</c:v>
                </c:pt>
                <c:pt idx="29">
                  <c:v>251</c:v>
                </c:pt>
                <c:pt idx="30">
                  <c:v>352</c:v>
                </c:pt>
                <c:pt idx="31">
                  <c:v>91</c:v>
                </c:pt>
                <c:pt idx="32">
                  <c:v>99</c:v>
                </c:pt>
                <c:pt idx="33">
                  <c:v>411</c:v>
                </c:pt>
                <c:pt idx="34">
                  <c:v>539</c:v>
                </c:pt>
                <c:pt idx="35">
                  <c:v>616</c:v>
                </c:pt>
                <c:pt idx="36">
                  <c:v>734</c:v>
                </c:pt>
                <c:pt idx="37">
                  <c:v>622</c:v>
                </c:pt>
                <c:pt idx="38">
                  <c:v>107</c:v>
                </c:pt>
                <c:pt idx="39">
                  <c:v>83</c:v>
                </c:pt>
                <c:pt idx="40">
                  <c:v>551</c:v>
                </c:pt>
                <c:pt idx="41">
                  <c:v>566</c:v>
                </c:pt>
                <c:pt idx="42">
                  <c:v>572</c:v>
                </c:pt>
                <c:pt idx="43">
                  <c:v>658</c:v>
                </c:pt>
                <c:pt idx="44">
                  <c:v>535</c:v>
                </c:pt>
                <c:pt idx="45">
                  <c:v>92</c:v>
                </c:pt>
                <c:pt idx="46">
                  <c:v>32</c:v>
                </c:pt>
                <c:pt idx="47">
                  <c:v>308</c:v>
                </c:pt>
                <c:pt idx="48">
                  <c:v>345</c:v>
                </c:pt>
                <c:pt idx="49">
                  <c:v>292</c:v>
                </c:pt>
                <c:pt idx="50">
                  <c:v>334</c:v>
                </c:pt>
                <c:pt idx="51">
                  <c:v>242</c:v>
                </c:pt>
                <c:pt idx="52">
                  <c:v>15</c:v>
                </c:pt>
                <c:pt idx="53">
                  <c:v>11</c:v>
                </c:pt>
                <c:pt idx="54">
                  <c:v>163</c:v>
                </c:pt>
                <c:pt idx="55">
                  <c:v>254</c:v>
                </c:pt>
                <c:pt idx="56">
                  <c:v>185</c:v>
                </c:pt>
                <c:pt idx="57">
                  <c:v>156</c:v>
                </c:pt>
                <c:pt idx="58">
                  <c:v>143</c:v>
                </c:pt>
                <c:pt idx="59">
                  <c:v>12</c:v>
                </c:pt>
                <c:pt idx="60">
                  <c:v>6</c:v>
                </c:pt>
                <c:pt idx="61">
                  <c:v>93</c:v>
                </c:pt>
                <c:pt idx="62">
                  <c:v>119</c:v>
                </c:pt>
                <c:pt idx="63">
                  <c:v>133</c:v>
                </c:pt>
                <c:pt idx="64">
                  <c:v>130</c:v>
                </c:pt>
                <c:pt idx="65">
                  <c:v>199</c:v>
                </c:pt>
                <c:pt idx="66">
                  <c:v>4</c:v>
                </c:pt>
                <c:pt idx="67">
                  <c:v>11</c:v>
                </c:pt>
                <c:pt idx="68">
                  <c:v>120</c:v>
                </c:pt>
                <c:pt idx="69">
                  <c:v>164</c:v>
                </c:pt>
                <c:pt idx="70">
                  <c:v>207</c:v>
                </c:pt>
                <c:pt idx="71">
                  <c:v>381</c:v>
                </c:pt>
                <c:pt idx="72">
                  <c:v>352</c:v>
                </c:pt>
                <c:pt idx="73">
                  <c:v>48</c:v>
                </c:pt>
                <c:pt idx="74">
                  <c:v>53</c:v>
                </c:pt>
                <c:pt idx="75">
                  <c:v>294</c:v>
                </c:pt>
                <c:pt idx="76">
                  <c:v>330</c:v>
                </c:pt>
                <c:pt idx="77">
                  <c:v>352</c:v>
                </c:pt>
                <c:pt idx="78">
                  <c:v>359</c:v>
                </c:pt>
                <c:pt idx="79">
                  <c:v>478</c:v>
                </c:pt>
                <c:pt idx="80">
                  <c:v>43</c:v>
                </c:pt>
                <c:pt idx="81">
                  <c:v>35</c:v>
                </c:pt>
                <c:pt idx="82">
                  <c:v>572</c:v>
                </c:pt>
                <c:pt idx="83">
                  <c:v>592</c:v>
                </c:pt>
                <c:pt idx="84">
                  <c:v>821</c:v>
                </c:pt>
                <c:pt idx="85">
                  <c:v>807</c:v>
                </c:pt>
                <c:pt idx="86">
                  <c:v>697</c:v>
                </c:pt>
                <c:pt idx="87">
                  <c:v>150</c:v>
                </c:pt>
                <c:pt idx="88">
                  <c:v>134</c:v>
                </c:pt>
                <c:pt idx="89">
                  <c:v>776</c:v>
                </c:pt>
                <c:pt idx="90">
                  <c:v>872</c:v>
                </c:pt>
                <c:pt idx="91">
                  <c:v>874</c:v>
                </c:pt>
                <c:pt idx="92">
                  <c:v>1092</c:v>
                </c:pt>
                <c:pt idx="93">
                  <c:v>308</c:v>
                </c:pt>
                <c:pt idx="94">
                  <c:v>302</c:v>
                </c:pt>
                <c:pt idx="95">
                  <c:v>232</c:v>
                </c:pt>
                <c:pt idx="96">
                  <c:v>193</c:v>
                </c:pt>
                <c:pt idx="97">
                  <c:v>856</c:v>
                </c:pt>
                <c:pt idx="98">
                  <c:v>593</c:v>
                </c:pt>
                <c:pt idx="99">
                  <c:v>720</c:v>
                </c:pt>
                <c:pt idx="100">
                  <c:v>883</c:v>
                </c:pt>
                <c:pt idx="101">
                  <c:v>264</c:v>
                </c:pt>
                <c:pt idx="102">
                  <c:v>193</c:v>
                </c:pt>
                <c:pt idx="103">
                  <c:v>597</c:v>
                </c:pt>
                <c:pt idx="104">
                  <c:v>665</c:v>
                </c:pt>
                <c:pt idx="105">
                  <c:v>737</c:v>
                </c:pt>
                <c:pt idx="106">
                  <c:v>758</c:v>
                </c:pt>
                <c:pt idx="107">
                  <c:v>1153</c:v>
                </c:pt>
                <c:pt idx="108">
                  <c:v>359</c:v>
                </c:pt>
                <c:pt idx="109">
                  <c:v>259</c:v>
                </c:pt>
                <c:pt idx="110">
                  <c:v>896</c:v>
                </c:pt>
                <c:pt idx="111">
                  <c:v>867</c:v>
                </c:pt>
                <c:pt idx="112">
                  <c:v>1097</c:v>
                </c:pt>
                <c:pt idx="113">
                  <c:v>1120</c:v>
                </c:pt>
                <c:pt idx="114">
                  <c:v>805</c:v>
                </c:pt>
                <c:pt idx="115">
                  <c:v>238</c:v>
                </c:pt>
                <c:pt idx="116">
                  <c:v>233</c:v>
                </c:pt>
                <c:pt idx="117">
                  <c:v>717</c:v>
                </c:pt>
                <c:pt idx="118">
                  <c:v>948</c:v>
                </c:pt>
                <c:pt idx="119">
                  <c:v>1242</c:v>
                </c:pt>
                <c:pt idx="120">
                  <c:v>1174</c:v>
                </c:pt>
                <c:pt idx="121">
                  <c:v>838</c:v>
                </c:pt>
                <c:pt idx="122">
                  <c:v>193</c:v>
                </c:pt>
                <c:pt idx="123">
                  <c:v>130</c:v>
                </c:pt>
                <c:pt idx="124">
                  <c:v>544</c:v>
                </c:pt>
                <c:pt idx="125">
                  <c:v>968</c:v>
                </c:pt>
                <c:pt idx="126">
                  <c:v>1196</c:v>
                </c:pt>
                <c:pt idx="127">
                  <c:v>1400</c:v>
                </c:pt>
                <c:pt idx="128">
                  <c:v>1185</c:v>
                </c:pt>
                <c:pt idx="129">
                  <c:v>295</c:v>
                </c:pt>
                <c:pt idx="130">
                  <c:v>116</c:v>
                </c:pt>
                <c:pt idx="131">
                  <c:v>830</c:v>
                </c:pt>
                <c:pt idx="132">
                  <c:v>1861</c:v>
                </c:pt>
                <c:pt idx="133">
                  <c:v>1953</c:v>
                </c:pt>
                <c:pt idx="134">
                  <c:v>2219</c:v>
                </c:pt>
                <c:pt idx="135">
                  <c:v>1212</c:v>
                </c:pt>
                <c:pt idx="136">
                  <c:v>875</c:v>
                </c:pt>
                <c:pt idx="137">
                  <c:v>733</c:v>
                </c:pt>
                <c:pt idx="138">
                  <c:v>717</c:v>
                </c:pt>
                <c:pt idx="139">
                  <c:v>1645</c:v>
                </c:pt>
                <c:pt idx="140">
                  <c:v>1942</c:v>
                </c:pt>
                <c:pt idx="141">
                  <c:v>2931</c:v>
                </c:pt>
                <c:pt idx="142">
                  <c:v>2795</c:v>
                </c:pt>
                <c:pt idx="143">
                  <c:v>1677</c:v>
                </c:pt>
                <c:pt idx="144">
                  <c:v>1287</c:v>
                </c:pt>
                <c:pt idx="145">
                  <c:v>3174</c:v>
                </c:pt>
                <c:pt idx="146">
                  <c:v>2806</c:v>
                </c:pt>
                <c:pt idx="147">
                  <c:v>3442</c:v>
                </c:pt>
                <c:pt idx="148">
                  <c:v>7495</c:v>
                </c:pt>
                <c:pt idx="149">
                  <c:v>6607</c:v>
                </c:pt>
                <c:pt idx="150">
                  <c:v>4092</c:v>
                </c:pt>
                <c:pt idx="151">
                  <c:v>2564</c:v>
                </c:pt>
                <c:pt idx="152">
                  <c:v>13211</c:v>
                </c:pt>
                <c:pt idx="153">
                  <c:v>13875</c:v>
                </c:pt>
                <c:pt idx="154">
                  <c:v>18994</c:v>
                </c:pt>
                <c:pt idx="155">
                  <c:v>23057</c:v>
                </c:pt>
                <c:pt idx="156">
                  <c:v>18041</c:v>
                </c:pt>
                <c:pt idx="157">
                  <c:v>8003</c:v>
                </c:pt>
                <c:pt idx="158">
                  <c:v>6556</c:v>
                </c:pt>
                <c:pt idx="159">
                  <c:v>21521</c:v>
                </c:pt>
                <c:pt idx="160">
                  <c:v>17966</c:v>
                </c:pt>
                <c:pt idx="161">
                  <c:v>20789</c:v>
                </c:pt>
                <c:pt idx="162">
                  <c:v>18373</c:v>
                </c:pt>
                <c:pt idx="163">
                  <c:v>14442</c:v>
                </c:pt>
                <c:pt idx="164">
                  <c:v>3626</c:v>
                </c:pt>
                <c:pt idx="165">
                  <c:v>4546</c:v>
                </c:pt>
                <c:pt idx="166">
                  <c:v>11922</c:v>
                </c:pt>
                <c:pt idx="167">
                  <c:v>11067</c:v>
                </c:pt>
                <c:pt idx="168">
                  <c:v>10661</c:v>
                </c:pt>
                <c:pt idx="169">
                  <c:v>10494</c:v>
                </c:pt>
                <c:pt idx="170">
                  <c:v>8422</c:v>
                </c:pt>
                <c:pt idx="171">
                  <c:v>3227</c:v>
                </c:pt>
                <c:pt idx="172">
                  <c:v>2440</c:v>
                </c:pt>
                <c:pt idx="173">
                  <c:v>7094</c:v>
                </c:pt>
                <c:pt idx="174">
                  <c:v>10740</c:v>
                </c:pt>
                <c:pt idx="175">
                  <c:v>10904</c:v>
                </c:pt>
                <c:pt idx="176">
                  <c:v>10859</c:v>
                </c:pt>
                <c:pt idx="177">
                  <c:v>10672</c:v>
                </c:pt>
                <c:pt idx="178">
                  <c:v>10059</c:v>
                </c:pt>
                <c:pt idx="179">
                  <c:v>9969</c:v>
                </c:pt>
                <c:pt idx="180">
                  <c:v>10491</c:v>
                </c:pt>
                <c:pt idx="181">
                  <c:v>10696</c:v>
                </c:pt>
                <c:pt idx="182">
                  <c:v>106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D85-47C2-92CB-D22E4A4C65D5}"/>
            </c:ext>
          </c:extLst>
        </c:ser>
        <c:ser>
          <c:idx val="11"/>
          <c:order val="11"/>
          <c:tx>
            <c:strRef>
              <c:f>List1!$M$1</c:f>
              <c:strCache>
                <c:ptCount val="1"/>
                <c:pt idx="0">
                  <c:v>15 70-74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M$5:$M$187</c:f>
              <c:numCache>
                <c:formatCode>General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3</c:v>
                </c:pt>
                <c:pt idx="19">
                  <c:v>52</c:v>
                </c:pt>
                <c:pt idx="20">
                  <c:v>92</c:v>
                </c:pt>
                <c:pt idx="21">
                  <c:v>85</c:v>
                </c:pt>
                <c:pt idx="22">
                  <c:v>59</c:v>
                </c:pt>
                <c:pt idx="23">
                  <c:v>24</c:v>
                </c:pt>
                <c:pt idx="24">
                  <c:v>17</c:v>
                </c:pt>
                <c:pt idx="25">
                  <c:v>19</c:v>
                </c:pt>
                <c:pt idx="26">
                  <c:v>59</c:v>
                </c:pt>
                <c:pt idx="27">
                  <c:v>77</c:v>
                </c:pt>
                <c:pt idx="28">
                  <c:v>90</c:v>
                </c:pt>
                <c:pt idx="29">
                  <c:v>166</c:v>
                </c:pt>
                <c:pt idx="30">
                  <c:v>225</c:v>
                </c:pt>
                <c:pt idx="31">
                  <c:v>67</c:v>
                </c:pt>
                <c:pt idx="32">
                  <c:v>69</c:v>
                </c:pt>
                <c:pt idx="33">
                  <c:v>231</c:v>
                </c:pt>
                <c:pt idx="34">
                  <c:v>338</c:v>
                </c:pt>
                <c:pt idx="35">
                  <c:v>535</c:v>
                </c:pt>
                <c:pt idx="36">
                  <c:v>555</c:v>
                </c:pt>
                <c:pt idx="37">
                  <c:v>448</c:v>
                </c:pt>
                <c:pt idx="38">
                  <c:v>79</c:v>
                </c:pt>
                <c:pt idx="39">
                  <c:v>66</c:v>
                </c:pt>
                <c:pt idx="40">
                  <c:v>401</c:v>
                </c:pt>
                <c:pt idx="41">
                  <c:v>443</c:v>
                </c:pt>
                <c:pt idx="42">
                  <c:v>498</c:v>
                </c:pt>
                <c:pt idx="43">
                  <c:v>567</c:v>
                </c:pt>
                <c:pt idx="44">
                  <c:v>447</c:v>
                </c:pt>
                <c:pt idx="45">
                  <c:v>112</c:v>
                </c:pt>
                <c:pt idx="46">
                  <c:v>23</c:v>
                </c:pt>
                <c:pt idx="47">
                  <c:v>266</c:v>
                </c:pt>
                <c:pt idx="48">
                  <c:v>285</c:v>
                </c:pt>
                <c:pt idx="49">
                  <c:v>282</c:v>
                </c:pt>
                <c:pt idx="50">
                  <c:v>269</c:v>
                </c:pt>
                <c:pt idx="51">
                  <c:v>217</c:v>
                </c:pt>
                <c:pt idx="52">
                  <c:v>8</c:v>
                </c:pt>
                <c:pt idx="53">
                  <c:v>9</c:v>
                </c:pt>
                <c:pt idx="54">
                  <c:v>156</c:v>
                </c:pt>
                <c:pt idx="55">
                  <c:v>184</c:v>
                </c:pt>
                <c:pt idx="56">
                  <c:v>174</c:v>
                </c:pt>
                <c:pt idx="57">
                  <c:v>149</c:v>
                </c:pt>
                <c:pt idx="58">
                  <c:v>96</c:v>
                </c:pt>
                <c:pt idx="59">
                  <c:v>10</c:v>
                </c:pt>
                <c:pt idx="60">
                  <c:v>13</c:v>
                </c:pt>
                <c:pt idx="61">
                  <c:v>70</c:v>
                </c:pt>
                <c:pt idx="62">
                  <c:v>112</c:v>
                </c:pt>
                <c:pt idx="63">
                  <c:v>127</c:v>
                </c:pt>
                <c:pt idx="64">
                  <c:v>140</c:v>
                </c:pt>
                <c:pt idx="65">
                  <c:v>201</c:v>
                </c:pt>
                <c:pt idx="66">
                  <c:v>8</c:v>
                </c:pt>
                <c:pt idx="67">
                  <c:v>11</c:v>
                </c:pt>
                <c:pt idx="68">
                  <c:v>149</c:v>
                </c:pt>
                <c:pt idx="69">
                  <c:v>148</c:v>
                </c:pt>
                <c:pt idx="70">
                  <c:v>176</c:v>
                </c:pt>
                <c:pt idx="71">
                  <c:v>290</c:v>
                </c:pt>
                <c:pt idx="72">
                  <c:v>316</c:v>
                </c:pt>
                <c:pt idx="73">
                  <c:v>37</c:v>
                </c:pt>
                <c:pt idx="74">
                  <c:v>41</c:v>
                </c:pt>
                <c:pt idx="75">
                  <c:v>273</c:v>
                </c:pt>
                <c:pt idx="76">
                  <c:v>299</c:v>
                </c:pt>
                <c:pt idx="77">
                  <c:v>345</c:v>
                </c:pt>
                <c:pt idx="78">
                  <c:v>347</c:v>
                </c:pt>
                <c:pt idx="79">
                  <c:v>522</c:v>
                </c:pt>
                <c:pt idx="80">
                  <c:v>38</c:v>
                </c:pt>
                <c:pt idx="81">
                  <c:v>35</c:v>
                </c:pt>
                <c:pt idx="82">
                  <c:v>683</c:v>
                </c:pt>
                <c:pt idx="83">
                  <c:v>877</c:v>
                </c:pt>
                <c:pt idx="84">
                  <c:v>1149</c:v>
                </c:pt>
                <c:pt idx="85">
                  <c:v>1229</c:v>
                </c:pt>
                <c:pt idx="86">
                  <c:v>1462</c:v>
                </c:pt>
                <c:pt idx="87">
                  <c:v>717</c:v>
                </c:pt>
                <c:pt idx="88">
                  <c:v>572</c:v>
                </c:pt>
                <c:pt idx="89">
                  <c:v>2646</c:v>
                </c:pt>
                <c:pt idx="90">
                  <c:v>3044</c:v>
                </c:pt>
                <c:pt idx="91">
                  <c:v>3862</c:v>
                </c:pt>
                <c:pt idx="92">
                  <c:v>4873</c:v>
                </c:pt>
                <c:pt idx="93">
                  <c:v>2695</c:v>
                </c:pt>
                <c:pt idx="94">
                  <c:v>2084</c:v>
                </c:pt>
                <c:pt idx="95">
                  <c:v>1973</c:v>
                </c:pt>
                <c:pt idx="96">
                  <c:v>1676</c:v>
                </c:pt>
                <c:pt idx="97">
                  <c:v>5621</c:v>
                </c:pt>
                <c:pt idx="98">
                  <c:v>4414</c:v>
                </c:pt>
                <c:pt idx="99">
                  <c:v>8915</c:v>
                </c:pt>
                <c:pt idx="100">
                  <c:v>7913</c:v>
                </c:pt>
                <c:pt idx="101">
                  <c:v>4893</c:v>
                </c:pt>
                <c:pt idx="102">
                  <c:v>2640</c:v>
                </c:pt>
                <c:pt idx="103">
                  <c:v>8656</c:v>
                </c:pt>
                <c:pt idx="104">
                  <c:v>8568</c:v>
                </c:pt>
                <c:pt idx="105">
                  <c:v>10445</c:v>
                </c:pt>
                <c:pt idx="106">
                  <c:v>8810</c:v>
                </c:pt>
                <c:pt idx="107">
                  <c:v>6391</c:v>
                </c:pt>
                <c:pt idx="108">
                  <c:v>2483</c:v>
                </c:pt>
                <c:pt idx="109">
                  <c:v>1555</c:v>
                </c:pt>
                <c:pt idx="110">
                  <c:v>4534</c:v>
                </c:pt>
                <c:pt idx="111">
                  <c:v>4928</c:v>
                </c:pt>
                <c:pt idx="112">
                  <c:v>3865</c:v>
                </c:pt>
                <c:pt idx="113">
                  <c:v>4848</c:v>
                </c:pt>
                <c:pt idx="114">
                  <c:v>2951</c:v>
                </c:pt>
                <c:pt idx="115">
                  <c:v>1719</c:v>
                </c:pt>
                <c:pt idx="116">
                  <c:v>1243</c:v>
                </c:pt>
                <c:pt idx="117">
                  <c:v>1939</c:v>
                </c:pt>
                <c:pt idx="118">
                  <c:v>3671</c:v>
                </c:pt>
                <c:pt idx="119">
                  <c:v>3869</c:v>
                </c:pt>
                <c:pt idx="120">
                  <c:v>4552</c:v>
                </c:pt>
                <c:pt idx="121">
                  <c:v>2287</c:v>
                </c:pt>
                <c:pt idx="122">
                  <c:v>1318</c:v>
                </c:pt>
                <c:pt idx="123">
                  <c:v>711</c:v>
                </c:pt>
                <c:pt idx="124">
                  <c:v>1291</c:v>
                </c:pt>
                <c:pt idx="125">
                  <c:v>2230</c:v>
                </c:pt>
                <c:pt idx="126">
                  <c:v>2405</c:v>
                </c:pt>
                <c:pt idx="127">
                  <c:v>2647</c:v>
                </c:pt>
                <c:pt idx="128">
                  <c:v>2078</c:v>
                </c:pt>
                <c:pt idx="129">
                  <c:v>397</c:v>
                </c:pt>
                <c:pt idx="130">
                  <c:v>152</c:v>
                </c:pt>
                <c:pt idx="131">
                  <c:v>1291</c:v>
                </c:pt>
                <c:pt idx="132">
                  <c:v>5708</c:v>
                </c:pt>
                <c:pt idx="133">
                  <c:v>5149</c:v>
                </c:pt>
                <c:pt idx="134">
                  <c:v>6606</c:v>
                </c:pt>
                <c:pt idx="135">
                  <c:v>1638</c:v>
                </c:pt>
                <c:pt idx="136">
                  <c:v>1097</c:v>
                </c:pt>
                <c:pt idx="137">
                  <c:v>1091</c:v>
                </c:pt>
                <c:pt idx="138">
                  <c:v>1062</c:v>
                </c:pt>
                <c:pt idx="139">
                  <c:v>4629</c:v>
                </c:pt>
                <c:pt idx="140">
                  <c:v>4677</c:v>
                </c:pt>
                <c:pt idx="141">
                  <c:v>9326</c:v>
                </c:pt>
                <c:pt idx="142">
                  <c:v>9037</c:v>
                </c:pt>
                <c:pt idx="143">
                  <c:v>4420</c:v>
                </c:pt>
                <c:pt idx="144">
                  <c:v>4097</c:v>
                </c:pt>
                <c:pt idx="145">
                  <c:v>11766</c:v>
                </c:pt>
                <c:pt idx="146">
                  <c:v>9969</c:v>
                </c:pt>
                <c:pt idx="147">
                  <c:v>11806</c:v>
                </c:pt>
                <c:pt idx="148">
                  <c:v>13368</c:v>
                </c:pt>
                <c:pt idx="149">
                  <c:v>10780</c:v>
                </c:pt>
                <c:pt idx="150">
                  <c:v>3839</c:v>
                </c:pt>
                <c:pt idx="151">
                  <c:v>3755</c:v>
                </c:pt>
                <c:pt idx="152">
                  <c:v>8442</c:v>
                </c:pt>
                <c:pt idx="153">
                  <c:v>7318</c:v>
                </c:pt>
                <c:pt idx="154">
                  <c:v>6690</c:v>
                </c:pt>
                <c:pt idx="155">
                  <c:v>7168</c:v>
                </c:pt>
                <c:pt idx="156">
                  <c:v>6268</c:v>
                </c:pt>
                <c:pt idx="157">
                  <c:v>2877</c:v>
                </c:pt>
                <c:pt idx="158">
                  <c:v>2290</c:v>
                </c:pt>
                <c:pt idx="159">
                  <c:v>5640</c:v>
                </c:pt>
                <c:pt idx="160">
                  <c:v>6088</c:v>
                </c:pt>
                <c:pt idx="161">
                  <c:v>6606</c:v>
                </c:pt>
                <c:pt idx="162">
                  <c:v>7498</c:v>
                </c:pt>
                <c:pt idx="163">
                  <c:v>7034</c:v>
                </c:pt>
                <c:pt idx="164">
                  <c:v>1874</c:v>
                </c:pt>
                <c:pt idx="165">
                  <c:v>1223</c:v>
                </c:pt>
                <c:pt idx="166">
                  <c:v>5675</c:v>
                </c:pt>
                <c:pt idx="167">
                  <c:v>6233</c:v>
                </c:pt>
                <c:pt idx="168">
                  <c:v>6250</c:v>
                </c:pt>
                <c:pt idx="169">
                  <c:v>6616</c:v>
                </c:pt>
                <c:pt idx="170">
                  <c:v>5518</c:v>
                </c:pt>
                <c:pt idx="171">
                  <c:v>2087</c:v>
                </c:pt>
                <c:pt idx="172">
                  <c:v>1119</c:v>
                </c:pt>
                <c:pt idx="173">
                  <c:v>4707</c:v>
                </c:pt>
                <c:pt idx="174">
                  <c:v>6205</c:v>
                </c:pt>
                <c:pt idx="175">
                  <c:v>6262</c:v>
                </c:pt>
                <c:pt idx="176">
                  <c:v>6088</c:v>
                </c:pt>
                <c:pt idx="177">
                  <c:v>5509</c:v>
                </c:pt>
                <c:pt idx="178">
                  <c:v>3929</c:v>
                </c:pt>
                <c:pt idx="179">
                  <c:v>3672</c:v>
                </c:pt>
                <c:pt idx="180">
                  <c:v>4775</c:v>
                </c:pt>
                <c:pt idx="181">
                  <c:v>5264</c:v>
                </c:pt>
                <c:pt idx="182">
                  <c:v>14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3D85-47C2-92CB-D22E4A4C65D5}"/>
            </c:ext>
          </c:extLst>
        </c:ser>
        <c:ser>
          <c:idx val="12"/>
          <c:order val="12"/>
          <c:tx>
            <c:strRef>
              <c:f>List1!$N$1</c:f>
              <c:strCache>
                <c:ptCount val="1"/>
                <c:pt idx="0">
                  <c:v>16 75-79</c:v>
                </c:pt>
              </c:strCache>
            </c:strRef>
          </c:tx>
          <c:spPr>
            <a:solidFill>
              <a:schemeClr val="accent1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N$5:$N$187</c:f>
              <c:numCache>
                <c:formatCode>General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5</c:v>
                </c:pt>
                <c:pt idx="19">
                  <c:v>22</c:v>
                </c:pt>
                <c:pt idx="20">
                  <c:v>50</c:v>
                </c:pt>
                <c:pt idx="21">
                  <c:v>46</c:v>
                </c:pt>
                <c:pt idx="22">
                  <c:v>32</c:v>
                </c:pt>
                <c:pt idx="23">
                  <c:v>37</c:v>
                </c:pt>
                <c:pt idx="24">
                  <c:v>12</c:v>
                </c:pt>
                <c:pt idx="25">
                  <c:v>8</c:v>
                </c:pt>
                <c:pt idx="26">
                  <c:v>18</c:v>
                </c:pt>
                <c:pt idx="27">
                  <c:v>28</c:v>
                </c:pt>
                <c:pt idx="28">
                  <c:v>25</c:v>
                </c:pt>
                <c:pt idx="29">
                  <c:v>93</c:v>
                </c:pt>
                <c:pt idx="30">
                  <c:v>154</c:v>
                </c:pt>
                <c:pt idx="31">
                  <c:v>40</c:v>
                </c:pt>
                <c:pt idx="32">
                  <c:v>49</c:v>
                </c:pt>
                <c:pt idx="33">
                  <c:v>160</c:v>
                </c:pt>
                <c:pt idx="34">
                  <c:v>294</c:v>
                </c:pt>
                <c:pt idx="35">
                  <c:v>374</c:v>
                </c:pt>
                <c:pt idx="36">
                  <c:v>485</c:v>
                </c:pt>
                <c:pt idx="37">
                  <c:v>354</c:v>
                </c:pt>
                <c:pt idx="38">
                  <c:v>51</c:v>
                </c:pt>
                <c:pt idx="39">
                  <c:v>60</c:v>
                </c:pt>
                <c:pt idx="40">
                  <c:v>272</c:v>
                </c:pt>
                <c:pt idx="41">
                  <c:v>333</c:v>
                </c:pt>
                <c:pt idx="42">
                  <c:v>505</c:v>
                </c:pt>
                <c:pt idx="43">
                  <c:v>628</c:v>
                </c:pt>
                <c:pt idx="44">
                  <c:v>447</c:v>
                </c:pt>
                <c:pt idx="45">
                  <c:v>153</c:v>
                </c:pt>
                <c:pt idx="46">
                  <c:v>26</c:v>
                </c:pt>
                <c:pt idx="47">
                  <c:v>282</c:v>
                </c:pt>
                <c:pt idx="48">
                  <c:v>357</c:v>
                </c:pt>
                <c:pt idx="49">
                  <c:v>320</c:v>
                </c:pt>
                <c:pt idx="50">
                  <c:v>288</c:v>
                </c:pt>
                <c:pt idx="51">
                  <c:v>290</c:v>
                </c:pt>
                <c:pt idx="52">
                  <c:v>8</c:v>
                </c:pt>
                <c:pt idx="53">
                  <c:v>6</c:v>
                </c:pt>
                <c:pt idx="54">
                  <c:v>173</c:v>
                </c:pt>
                <c:pt idx="55">
                  <c:v>192</c:v>
                </c:pt>
                <c:pt idx="56">
                  <c:v>169</c:v>
                </c:pt>
                <c:pt idx="57">
                  <c:v>149</c:v>
                </c:pt>
                <c:pt idx="58">
                  <c:v>99</c:v>
                </c:pt>
                <c:pt idx="59">
                  <c:v>11</c:v>
                </c:pt>
                <c:pt idx="60">
                  <c:v>9</c:v>
                </c:pt>
                <c:pt idx="61">
                  <c:v>96</c:v>
                </c:pt>
                <c:pt idx="62">
                  <c:v>114</c:v>
                </c:pt>
                <c:pt idx="63">
                  <c:v>130</c:v>
                </c:pt>
                <c:pt idx="64">
                  <c:v>157</c:v>
                </c:pt>
                <c:pt idx="65">
                  <c:v>216</c:v>
                </c:pt>
                <c:pt idx="66">
                  <c:v>6</c:v>
                </c:pt>
                <c:pt idx="67">
                  <c:v>19</c:v>
                </c:pt>
                <c:pt idx="68">
                  <c:v>167</c:v>
                </c:pt>
                <c:pt idx="69">
                  <c:v>190</c:v>
                </c:pt>
                <c:pt idx="70">
                  <c:v>202</c:v>
                </c:pt>
                <c:pt idx="71">
                  <c:v>297</c:v>
                </c:pt>
                <c:pt idx="72">
                  <c:v>346</c:v>
                </c:pt>
                <c:pt idx="73">
                  <c:v>44</c:v>
                </c:pt>
                <c:pt idx="74">
                  <c:v>31</c:v>
                </c:pt>
                <c:pt idx="75">
                  <c:v>271</c:v>
                </c:pt>
                <c:pt idx="76">
                  <c:v>320</c:v>
                </c:pt>
                <c:pt idx="77">
                  <c:v>349</c:v>
                </c:pt>
                <c:pt idx="78">
                  <c:v>314</c:v>
                </c:pt>
                <c:pt idx="79">
                  <c:v>534</c:v>
                </c:pt>
                <c:pt idx="80">
                  <c:v>34</c:v>
                </c:pt>
                <c:pt idx="81">
                  <c:v>39</c:v>
                </c:pt>
                <c:pt idx="82">
                  <c:v>556</c:v>
                </c:pt>
                <c:pt idx="83">
                  <c:v>1157</c:v>
                </c:pt>
                <c:pt idx="84">
                  <c:v>2163</c:v>
                </c:pt>
                <c:pt idx="85">
                  <c:v>2473</c:v>
                </c:pt>
                <c:pt idx="86">
                  <c:v>3025</c:v>
                </c:pt>
                <c:pt idx="87">
                  <c:v>1132</c:v>
                </c:pt>
                <c:pt idx="88">
                  <c:v>991</c:v>
                </c:pt>
                <c:pt idx="89">
                  <c:v>4807</c:v>
                </c:pt>
                <c:pt idx="90">
                  <c:v>5619</c:v>
                </c:pt>
                <c:pt idx="91">
                  <c:v>8316</c:v>
                </c:pt>
                <c:pt idx="92">
                  <c:v>10257</c:v>
                </c:pt>
                <c:pt idx="93">
                  <c:v>4568</c:v>
                </c:pt>
                <c:pt idx="94">
                  <c:v>3701</c:v>
                </c:pt>
                <c:pt idx="95">
                  <c:v>2472</c:v>
                </c:pt>
                <c:pt idx="96">
                  <c:v>2208</c:v>
                </c:pt>
                <c:pt idx="97">
                  <c:v>8810</c:v>
                </c:pt>
                <c:pt idx="98">
                  <c:v>7134</c:v>
                </c:pt>
                <c:pt idx="99">
                  <c:v>9569</c:v>
                </c:pt>
                <c:pt idx="100">
                  <c:v>8367</c:v>
                </c:pt>
                <c:pt idx="101">
                  <c:v>5151</c:v>
                </c:pt>
                <c:pt idx="102">
                  <c:v>3996</c:v>
                </c:pt>
                <c:pt idx="103">
                  <c:v>6988</c:v>
                </c:pt>
                <c:pt idx="104">
                  <c:v>6400</c:v>
                </c:pt>
                <c:pt idx="105">
                  <c:v>6435</c:v>
                </c:pt>
                <c:pt idx="106">
                  <c:v>6452</c:v>
                </c:pt>
                <c:pt idx="107">
                  <c:v>5686</c:v>
                </c:pt>
                <c:pt idx="108">
                  <c:v>2337</c:v>
                </c:pt>
                <c:pt idx="109">
                  <c:v>1421</c:v>
                </c:pt>
                <c:pt idx="110">
                  <c:v>3844</c:v>
                </c:pt>
                <c:pt idx="111">
                  <c:v>3842</c:v>
                </c:pt>
                <c:pt idx="112">
                  <c:v>3225</c:v>
                </c:pt>
                <c:pt idx="113">
                  <c:v>3531</c:v>
                </c:pt>
                <c:pt idx="114">
                  <c:v>2252</c:v>
                </c:pt>
                <c:pt idx="115">
                  <c:v>1400</c:v>
                </c:pt>
                <c:pt idx="116">
                  <c:v>658</c:v>
                </c:pt>
                <c:pt idx="117">
                  <c:v>1414</c:v>
                </c:pt>
                <c:pt idx="118">
                  <c:v>2092</c:v>
                </c:pt>
                <c:pt idx="119">
                  <c:v>2351</c:v>
                </c:pt>
                <c:pt idx="120">
                  <c:v>2408</c:v>
                </c:pt>
                <c:pt idx="121">
                  <c:v>1411</c:v>
                </c:pt>
                <c:pt idx="122">
                  <c:v>484</c:v>
                </c:pt>
                <c:pt idx="123">
                  <c:v>346</c:v>
                </c:pt>
                <c:pt idx="124">
                  <c:v>836</c:v>
                </c:pt>
                <c:pt idx="125">
                  <c:v>1418</c:v>
                </c:pt>
                <c:pt idx="126">
                  <c:v>1541</c:v>
                </c:pt>
                <c:pt idx="127">
                  <c:v>1586</c:v>
                </c:pt>
                <c:pt idx="128">
                  <c:v>1253</c:v>
                </c:pt>
                <c:pt idx="129">
                  <c:v>216</c:v>
                </c:pt>
                <c:pt idx="130">
                  <c:v>133</c:v>
                </c:pt>
                <c:pt idx="131">
                  <c:v>986</c:v>
                </c:pt>
                <c:pt idx="132">
                  <c:v>3980</c:v>
                </c:pt>
                <c:pt idx="133">
                  <c:v>3733</c:v>
                </c:pt>
                <c:pt idx="134">
                  <c:v>4032</c:v>
                </c:pt>
                <c:pt idx="135">
                  <c:v>1386</c:v>
                </c:pt>
                <c:pt idx="136">
                  <c:v>579</c:v>
                </c:pt>
                <c:pt idx="137">
                  <c:v>469</c:v>
                </c:pt>
                <c:pt idx="138">
                  <c:v>451</c:v>
                </c:pt>
                <c:pt idx="139">
                  <c:v>2656</c:v>
                </c:pt>
                <c:pt idx="140">
                  <c:v>2992</c:v>
                </c:pt>
                <c:pt idx="141">
                  <c:v>4520</c:v>
                </c:pt>
                <c:pt idx="142">
                  <c:v>3967</c:v>
                </c:pt>
                <c:pt idx="143">
                  <c:v>1369</c:v>
                </c:pt>
                <c:pt idx="144">
                  <c:v>1110</c:v>
                </c:pt>
                <c:pt idx="145">
                  <c:v>3431</c:v>
                </c:pt>
                <c:pt idx="146">
                  <c:v>3209</c:v>
                </c:pt>
                <c:pt idx="147">
                  <c:v>3119</c:v>
                </c:pt>
                <c:pt idx="148">
                  <c:v>3243</c:v>
                </c:pt>
                <c:pt idx="149">
                  <c:v>3023</c:v>
                </c:pt>
                <c:pt idx="150">
                  <c:v>811</c:v>
                </c:pt>
                <c:pt idx="151">
                  <c:v>877</c:v>
                </c:pt>
                <c:pt idx="152">
                  <c:v>2135</c:v>
                </c:pt>
                <c:pt idx="153">
                  <c:v>2758</c:v>
                </c:pt>
                <c:pt idx="154">
                  <c:v>3287</c:v>
                </c:pt>
                <c:pt idx="155">
                  <c:v>3698</c:v>
                </c:pt>
                <c:pt idx="156">
                  <c:v>3557</c:v>
                </c:pt>
                <c:pt idx="157">
                  <c:v>1326</c:v>
                </c:pt>
                <c:pt idx="158">
                  <c:v>1080</c:v>
                </c:pt>
                <c:pt idx="159">
                  <c:v>3473</c:v>
                </c:pt>
                <c:pt idx="160">
                  <c:v>4149</c:v>
                </c:pt>
                <c:pt idx="161">
                  <c:v>4651</c:v>
                </c:pt>
                <c:pt idx="162">
                  <c:v>5086</c:v>
                </c:pt>
                <c:pt idx="163">
                  <c:v>5113</c:v>
                </c:pt>
                <c:pt idx="164">
                  <c:v>1354</c:v>
                </c:pt>
                <c:pt idx="165">
                  <c:v>664</c:v>
                </c:pt>
                <c:pt idx="166">
                  <c:v>3447</c:v>
                </c:pt>
                <c:pt idx="167">
                  <c:v>3663</c:v>
                </c:pt>
                <c:pt idx="168">
                  <c:v>4116</c:v>
                </c:pt>
                <c:pt idx="169">
                  <c:v>3973</c:v>
                </c:pt>
                <c:pt idx="170">
                  <c:v>3485</c:v>
                </c:pt>
                <c:pt idx="171">
                  <c:v>1255</c:v>
                </c:pt>
                <c:pt idx="172">
                  <c:v>527</c:v>
                </c:pt>
                <c:pt idx="173">
                  <c:v>2789</c:v>
                </c:pt>
                <c:pt idx="174">
                  <c:v>1883</c:v>
                </c:pt>
                <c:pt idx="175">
                  <c:v>1864</c:v>
                </c:pt>
                <c:pt idx="176">
                  <c:v>1819</c:v>
                </c:pt>
                <c:pt idx="177">
                  <c:v>1350</c:v>
                </c:pt>
                <c:pt idx="178">
                  <c:v>199</c:v>
                </c:pt>
                <c:pt idx="179">
                  <c:v>22</c:v>
                </c:pt>
                <c:pt idx="180">
                  <c:v>821</c:v>
                </c:pt>
                <c:pt idx="181">
                  <c:v>1166</c:v>
                </c:pt>
                <c:pt idx="182">
                  <c:v>10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3D85-47C2-92CB-D22E4A4C65D5}"/>
            </c:ext>
          </c:extLst>
        </c:ser>
        <c:ser>
          <c:idx val="13"/>
          <c:order val="13"/>
          <c:tx>
            <c:strRef>
              <c:f>List1!$O$1</c:f>
              <c:strCache>
                <c:ptCount val="1"/>
                <c:pt idx="0">
                  <c:v>17 80-84</c:v>
                </c:pt>
              </c:strCache>
            </c:strRef>
          </c:tx>
          <c:spPr>
            <a:solidFill>
              <a:schemeClr val="accent2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O$5:$O$187</c:f>
              <c:numCache>
                <c:formatCode>General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13</c:v>
                </c:pt>
                <c:pt idx="20">
                  <c:v>63</c:v>
                </c:pt>
                <c:pt idx="21">
                  <c:v>43</c:v>
                </c:pt>
                <c:pt idx="22">
                  <c:v>19</c:v>
                </c:pt>
                <c:pt idx="23">
                  <c:v>24</c:v>
                </c:pt>
                <c:pt idx="24">
                  <c:v>6</c:v>
                </c:pt>
                <c:pt idx="25">
                  <c:v>0</c:v>
                </c:pt>
                <c:pt idx="26">
                  <c:v>9</c:v>
                </c:pt>
                <c:pt idx="27">
                  <c:v>8</c:v>
                </c:pt>
                <c:pt idx="28">
                  <c:v>8</c:v>
                </c:pt>
                <c:pt idx="29">
                  <c:v>89</c:v>
                </c:pt>
                <c:pt idx="30">
                  <c:v>132</c:v>
                </c:pt>
                <c:pt idx="31">
                  <c:v>33</c:v>
                </c:pt>
                <c:pt idx="32">
                  <c:v>34</c:v>
                </c:pt>
                <c:pt idx="33">
                  <c:v>145</c:v>
                </c:pt>
                <c:pt idx="34">
                  <c:v>299</c:v>
                </c:pt>
                <c:pt idx="35">
                  <c:v>377</c:v>
                </c:pt>
                <c:pt idx="36">
                  <c:v>565</c:v>
                </c:pt>
                <c:pt idx="37">
                  <c:v>470</c:v>
                </c:pt>
                <c:pt idx="38">
                  <c:v>569</c:v>
                </c:pt>
                <c:pt idx="39">
                  <c:v>736</c:v>
                </c:pt>
                <c:pt idx="40">
                  <c:v>1816</c:v>
                </c:pt>
                <c:pt idx="41">
                  <c:v>2366</c:v>
                </c:pt>
                <c:pt idx="42">
                  <c:v>2878</c:v>
                </c:pt>
                <c:pt idx="43">
                  <c:v>4141</c:v>
                </c:pt>
                <c:pt idx="44">
                  <c:v>4201</c:v>
                </c:pt>
                <c:pt idx="45">
                  <c:v>1057</c:v>
                </c:pt>
                <c:pt idx="46">
                  <c:v>676</c:v>
                </c:pt>
                <c:pt idx="47">
                  <c:v>2721</c:v>
                </c:pt>
                <c:pt idx="48">
                  <c:v>2424</c:v>
                </c:pt>
                <c:pt idx="49">
                  <c:v>2216</c:v>
                </c:pt>
                <c:pt idx="50">
                  <c:v>2053</c:v>
                </c:pt>
                <c:pt idx="51">
                  <c:v>2211</c:v>
                </c:pt>
                <c:pt idx="52">
                  <c:v>521</c:v>
                </c:pt>
                <c:pt idx="53">
                  <c:v>461</c:v>
                </c:pt>
                <c:pt idx="54">
                  <c:v>1636</c:v>
                </c:pt>
                <c:pt idx="55">
                  <c:v>1655</c:v>
                </c:pt>
                <c:pt idx="56">
                  <c:v>1584</c:v>
                </c:pt>
                <c:pt idx="57">
                  <c:v>1571</c:v>
                </c:pt>
                <c:pt idx="58">
                  <c:v>1481</c:v>
                </c:pt>
                <c:pt idx="59">
                  <c:v>253</c:v>
                </c:pt>
                <c:pt idx="60">
                  <c:v>212</c:v>
                </c:pt>
                <c:pt idx="61">
                  <c:v>1124</c:v>
                </c:pt>
                <c:pt idx="62">
                  <c:v>999</c:v>
                </c:pt>
                <c:pt idx="63">
                  <c:v>1160</c:v>
                </c:pt>
                <c:pt idx="64">
                  <c:v>1281</c:v>
                </c:pt>
                <c:pt idx="65">
                  <c:v>1453</c:v>
                </c:pt>
                <c:pt idx="66">
                  <c:v>309</c:v>
                </c:pt>
                <c:pt idx="67">
                  <c:v>315</c:v>
                </c:pt>
                <c:pt idx="68">
                  <c:v>1397</c:v>
                </c:pt>
                <c:pt idx="69">
                  <c:v>1879</c:v>
                </c:pt>
                <c:pt idx="70">
                  <c:v>1787</c:v>
                </c:pt>
                <c:pt idx="71">
                  <c:v>2202</c:v>
                </c:pt>
                <c:pt idx="72">
                  <c:v>2000</c:v>
                </c:pt>
                <c:pt idx="73">
                  <c:v>468</c:v>
                </c:pt>
                <c:pt idx="74">
                  <c:v>276</c:v>
                </c:pt>
                <c:pt idx="75">
                  <c:v>2434</c:v>
                </c:pt>
                <c:pt idx="76">
                  <c:v>3407</c:v>
                </c:pt>
                <c:pt idx="77">
                  <c:v>3233</c:v>
                </c:pt>
                <c:pt idx="78">
                  <c:v>4377</c:v>
                </c:pt>
                <c:pt idx="79">
                  <c:v>4451</c:v>
                </c:pt>
                <c:pt idx="80">
                  <c:v>862</c:v>
                </c:pt>
                <c:pt idx="81">
                  <c:v>658</c:v>
                </c:pt>
                <c:pt idx="82">
                  <c:v>3741</c:v>
                </c:pt>
                <c:pt idx="83">
                  <c:v>3782</c:v>
                </c:pt>
                <c:pt idx="84">
                  <c:v>3918</c:v>
                </c:pt>
                <c:pt idx="85">
                  <c:v>5391</c:v>
                </c:pt>
                <c:pt idx="86">
                  <c:v>3826</c:v>
                </c:pt>
                <c:pt idx="87">
                  <c:v>793</c:v>
                </c:pt>
                <c:pt idx="88">
                  <c:v>734</c:v>
                </c:pt>
                <c:pt idx="89">
                  <c:v>3354</c:v>
                </c:pt>
                <c:pt idx="90">
                  <c:v>2782</c:v>
                </c:pt>
                <c:pt idx="91">
                  <c:v>3290</c:v>
                </c:pt>
                <c:pt idx="92">
                  <c:v>3431</c:v>
                </c:pt>
                <c:pt idx="93">
                  <c:v>959</c:v>
                </c:pt>
                <c:pt idx="94">
                  <c:v>919</c:v>
                </c:pt>
                <c:pt idx="95">
                  <c:v>905</c:v>
                </c:pt>
                <c:pt idx="96">
                  <c:v>537</c:v>
                </c:pt>
                <c:pt idx="97">
                  <c:v>1947</c:v>
                </c:pt>
                <c:pt idx="98">
                  <c:v>1475</c:v>
                </c:pt>
                <c:pt idx="99">
                  <c:v>2098</c:v>
                </c:pt>
                <c:pt idx="100">
                  <c:v>1683</c:v>
                </c:pt>
                <c:pt idx="101">
                  <c:v>708</c:v>
                </c:pt>
                <c:pt idx="102">
                  <c:v>450</c:v>
                </c:pt>
                <c:pt idx="103">
                  <c:v>993</c:v>
                </c:pt>
                <c:pt idx="104">
                  <c:v>1069</c:v>
                </c:pt>
                <c:pt idx="105">
                  <c:v>1194</c:v>
                </c:pt>
                <c:pt idx="106">
                  <c:v>1343</c:v>
                </c:pt>
                <c:pt idx="107">
                  <c:v>1132</c:v>
                </c:pt>
                <c:pt idx="108">
                  <c:v>310</c:v>
                </c:pt>
                <c:pt idx="109">
                  <c:v>181</c:v>
                </c:pt>
                <c:pt idx="110">
                  <c:v>835</c:v>
                </c:pt>
                <c:pt idx="111">
                  <c:v>796</c:v>
                </c:pt>
                <c:pt idx="112">
                  <c:v>690</c:v>
                </c:pt>
                <c:pt idx="113">
                  <c:v>714</c:v>
                </c:pt>
                <c:pt idx="114">
                  <c:v>438</c:v>
                </c:pt>
                <c:pt idx="115">
                  <c:v>202</c:v>
                </c:pt>
                <c:pt idx="116">
                  <c:v>92</c:v>
                </c:pt>
                <c:pt idx="117">
                  <c:v>404</c:v>
                </c:pt>
                <c:pt idx="118">
                  <c:v>424</c:v>
                </c:pt>
                <c:pt idx="119">
                  <c:v>588</c:v>
                </c:pt>
                <c:pt idx="120">
                  <c:v>655</c:v>
                </c:pt>
                <c:pt idx="121">
                  <c:v>349</c:v>
                </c:pt>
                <c:pt idx="122">
                  <c:v>87</c:v>
                </c:pt>
                <c:pt idx="123">
                  <c:v>68</c:v>
                </c:pt>
                <c:pt idx="124">
                  <c:v>216</c:v>
                </c:pt>
                <c:pt idx="125">
                  <c:v>458</c:v>
                </c:pt>
                <c:pt idx="126">
                  <c:v>518</c:v>
                </c:pt>
                <c:pt idx="127">
                  <c:v>558</c:v>
                </c:pt>
                <c:pt idx="128">
                  <c:v>510</c:v>
                </c:pt>
                <c:pt idx="129">
                  <c:v>56</c:v>
                </c:pt>
                <c:pt idx="130">
                  <c:v>133</c:v>
                </c:pt>
                <c:pt idx="131">
                  <c:v>643</c:v>
                </c:pt>
                <c:pt idx="132">
                  <c:v>1026</c:v>
                </c:pt>
                <c:pt idx="133">
                  <c:v>942</c:v>
                </c:pt>
                <c:pt idx="134">
                  <c:v>976</c:v>
                </c:pt>
                <c:pt idx="135">
                  <c:v>328</c:v>
                </c:pt>
                <c:pt idx="136">
                  <c:v>264</c:v>
                </c:pt>
                <c:pt idx="137">
                  <c:v>179</c:v>
                </c:pt>
                <c:pt idx="138">
                  <c:v>340</c:v>
                </c:pt>
                <c:pt idx="139">
                  <c:v>993</c:v>
                </c:pt>
                <c:pt idx="140">
                  <c:v>1340</c:v>
                </c:pt>
                <c:pt idx="141">
                  <c:v>1515</c:v>
                </c:pt>
                <c:pt idx="142">
                  <c:v>1081</c:v>
                </c:pt>
                <c:pt idx="143">
                  <c:v>396</c:v>
                </c:pt>
                <c:pt idx="144">
                  <c:v>295</c:v>
                </c:pt>
                <c:pt idx="145">
                  <c:v>1013</c:v>
                </c:pt>
                <c:pt idx="146">
                  <c:v>1413</c:v>
                </c:pt>
                <c:pt idx="147">
                  <c:v>1596</c:v>
                </c:pt>
                <c:pt idx="148">
                  <c:v>1764</c:v>
                </c:pt>
                <c:pt idx="149">
                  <c:v>1531</c:v>
                </c:pt>
                <c:pt idx="150">
                  <c:v>237</c:v>
                </c:pt>
                <c:pt idx="151">
                  <c:v>159</c:v>
                </c:pt>
                <c:pt idx="152">
                  <c:v>1206</c:v>
                </c:pt>
                <c:pt idx="153">
                  <c:v>1371</c:v>
                </c:pt>
                <c:pt idx="154">
                  <c:v>1455</c:v>
                </c:pt>
                <c:pt idx="155">
                  <c:v>1625</c:v>
                </c:pt>
                <c:pt idx="156">
                  <c:v>1351</c:v>
                </c:pt>
                <c:pt idx="157">
                  <c:v>366</c:v>
                </c:pt>
                <c:pt idx="158">
                  <c:v>246</c:v>
                </c:pt>
                <c:pt idx="159">
                  <c:v>1192</c:v>
                </c:pt>
                <c:pt idx="160">
                  <c:v>1615</c:v>
                </c:pt>
                <c:pt idx="161">
                  <c:v>1943</c:v>
                </c:pt>
                <c:pt idx="162">
                  <c:v>1884</c:v>
                </c:pt>
                <c:pt idx="163">
                  <c:v>1431</c:v>
                </c:pt>
                <c:pt idx="164">
                  <c:v>291</c:v>
                </c:pt>
                <c:pt idx="165">
                  <c:v>196</c:v>
                </c:pt>
                <c:pt idx="166">
                  <c:v>984</c:v>
                </c:pt>
                <c:pt idx="167">
                  <c:v>1154</c:v>
                </c:pt>
                <c:pt idx="168">
                  <c:v>1238</c:v>
                </c:pt>
                <c:pt idx="169">
                  <c:v>1215</c:v>
                </c:pt>
                <c:pt idx="170">
                  <c:v>1047</c:v>
                </c:pt>
                <c:pt idx="171">
                  <c:v>336</c:v>
                </c:pt>
                <c:pt idx="172">
                  <c:v>165</c:v>
                </c:pt>
                <c:pt idx="173">
                  <c:v>763</c:v>
                </c:pt>
                <c:pt idx="174">
                  <c:v>617</c:v>
                </c:pt>
                <c:pt idx="175">
                  <c:v>593</c:v>
                </c:pt>
                <c:pt idx="176">
                  <c:v>586</c:v>
                </c:pt>
                <c:pt idx="177">
                  <c:v>381</c:v>
                </c:pt>
                <c:pt idx="178">
                  <c:v>56</c:v>
                </c:pt>
                <c:pt idx="179">
                  <c:v>7</c:v>
                </c:pt>
                <c:pt idx="180">
                  <c:v>255</c:v>
                </c:pt>
                <c:pt idx="181">
                  <c:v>344</c:v>
                </c:pt>
                <c:pt idx="182">
                  <c:v>3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3D85-47C2-92CB-D22E4A4C65D5}"/>
            </c:ext>
          </c:extLst>
        </c:ser>
        <c:ser>
          <c:idx val="14"/>
          <c:order val="14"/>
          <c:tx>
            <c:strRef>
              <c:f>List1!$P$1</c:f>
              <c:strCache>
                <c:ptCount val="1"/>
                <c:pt idx="0">
                  <c:v>18 85+</c:v>
                </c:pt>
              </c:strCache>
            </c:strRef>
          </c:tx>
          <c:spPr>
            <a:solidFill>
              <a:schemeClr val="accent3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P$5:$P$187</c:f>
              <c:numCache>
                <c:formatCode>General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4</c:v>
                </c:pt>
                <c:pt idx="19">
                  <c:v>6</c:v>
                </c:pt>
                <c:pt idx="20">
                  <c:v>212</c:v>
                </c:pt>
                <c:pt idx="21">
                  <c:v>107</c:v>
                </c:pt>
                <c:pt idx="22">
                  <c:v>21</c:v>
                </c:pt>
                <c:pt idx="23">
                  <c:v>55</c:v>
                </c:pt>
                <c:pt idx="24">
                  <c:v>3</c:v>
                </c:pt>
                <c:pt idx="25">
                  <c:v>0</c:v>
                </c:pt>
                <c:pt idx="26">
                  <c:v>11</c:v>
                </c:pt>
                <c:pt idx="27">
                  <c:v>3</c:v>
                </c:pt>
                <c:pt idx="28">
                  <c:v>12</c:v>
                </c:pt>
                <c:pt idx="29">
                  <c:v>199</c:v>
                </c:pt>
                <c:pt idx="30">
                  <c:v>307</c:v>
                </c:pt>
                <c:pt idx="31">
                  <c:v>33</c:v>
                </c:pt>
                <c:pt idx="32">
                  <c:v>47</c:v>
                </c:pt>
                <c:pt idx="33">
                  <c:v>307</c:v>
                </c:pt>
                <c:pt idx="34">
                  <c:v>531</c:v>
                </c:pt>
                <c:pt idx="35">
                  <c:v>587</c:v>
                </c:pt>
                <c:pt idx="36">
                  <c:v>986</c:v>
                </c:pt>
                <c:pt idx="37">
                  <c:v>840</c:v>
                </c:pt>
                <c:pt idx="38">
                  <c:v>475</c:v>
                </c:pt>
                <c:pt idx="39">
                  <c:v>641</c:v>
                </c:pt>
                <c:pt idx="40">
                  <c:v>1614</c:v>
                </c:pt>
                <c:pt idx="41">
                  <c:v>2148</c:v>
                </c:pt>
                <c:pt idx="42">
                  <c:v>2743</c:v>
                </c:pt>
                <c:pt idx="43">
                  <c:v>3695</c:v>
                </c:pt>
                <c:pt idx="44">
                  <c:v>3453</c:v>
                </c:pt>
                <c:pt idx="45">
                  <c:v>844</c:v>
                </c:pt>
                <c:pt idx="46">
                  <c:v>447</c:v>
                </c:pt>
                <c:pt idx="47">
                  <c:v>2325</c:v>
                </c:pt>
                <c:pt idx="48">
                  <c:v>2492</c:v>
                </c:pt>
                <c:pt idx="49">
                  <c:v>2094</c:v>
                </c:pt>
                <c:pt idx="50">
                  <c:v>2004</c:v>
                </c:pt>
                <c:pt idx="51">
                  <c:v>1906</c:v>
                </c:pt>
                <c:pt idx="52">
                  <c:v>502</c:v>
                </c:pt>
                <c:pt idx="53">
                  <c:v>412</c:v>
                </c:pt>
                <c:pt idx="54">
                  <c:v>2047</c:v>
                </c:pt>
                <c:pt idx="55">
                  <c:v>2551</c:v>
                </c:pt>
                <c:pt idx="56">
                  <c:v>2099</c:v>
                </c:pt>
                <c:pt idx="57">
                  <c:v>1706</c:v>
                </c:pt>
                <c:pt idx="58">
                  <c:v>1684</c:v>
                </c:pt>
                <c:pt idx="59">
                  <c:v>202</c:v>
                </c:pt>
                <c:pt idx="60">
                  <c:v>236</c:v>
                </c:pt>
                <c:pt idx="61">
                  <c:v>1029</c:v>
                </c:pt>
                <c:pt idx="62">
                  <c:v>1056</c:v>
                </c:pt>
                <c:pt idx="63">
                  <c:v>1328</c:v>
                </c:pt>
                <c:pt idx="64">
                  <c:v>1522</c:v>
                </c:pt>
                <c:pt idx="65">
                  <c:v>1615</c:v>
                </c:pt>
                <c:pt idx="66">
                  <c:v>423</c:v>
                </c:pt>
                <c:pt idx="67">
                  <c:v>407</c:v>
                </c:pt>
                <c:pt idx="68">
                  <c:v>1635</c:v>
                </c:pt>
                <c:pt idx="69">
                  <c:v>2124</c:v>
                </c:pt>
                <c:pt idx="70">
                  <c:v>2110</c:v>
                </c:pt>
                <c:pt idx="71">
                  <c:v>2098</c:v>
                </c:pt>
                <c:pt idx="72">
                  <c:v>2200</c:v>
                </c:pt>
                <c:pt idx="73">
                  <c:v>444</c:v>
                </c:pt>
                <c:pt idx="74">
                  <c:v>333</c:v>
                </c:pt>
                <c:pt idx="75">
                  <c:v>2742</c:v>
                </c:pt>
                <c:pt idx="76">
                  <c:v>3220</c:v>
                </c:pt>
                <c:pt idx="77">
                  <c:v>2883</c:v>
                </c:pt>
                <c:pt idx="78">
                  <c:v>3295</c:v>
                </c:pt>
                <c:pt idx="79">
                  <c:v>3261</c:v>
                </c:pt>
                <c:pt idx="80">
                  <c:v>532</c:v>
                </c:pt>
                <c:pt idx="81">
                  <c:v>446</c:v>
                </c:pt>
                <c:pt idx="82">
                  <c:v>1941</c:v>
                </c:pt>
                <c:pt idx="83">
                  <c:v>1784</c:v>
                </c:pt>
                <c:pt idx="84">
                  <c:v>1685</c:v>
                </c:pt>
                <c:pt idx="85">
                  <c:v>1779</c:v>
                </c:pt>
                <c:pt idx="86">
                  <c:v>1815</c:v>
                </c:pt>
                <c:pt idx="87">
                  <c:v>488</c:v>
                </c:pt>
                <c:pt idx="88">
                  <c:v>318</c:v>
                </c:pt>
                <c:pt idx="89">
                  <c:v>1418</c:v>
                </c:pt>
                <c:pt idx="90">
                  <c:v>1205</c:v>
                </c:pt>
                <c:pt idx="91">
                  <c:v>1399</c:v>
                </c:pt>
                <c:pt idx="92">
                  <c:v>1559</c:v>
                </c:pt>
                <c:pt idx="93">
                  <c:v>437</c:v>
                </c:pt>
                <c:pt idx="94">
                  <c:v>316</c:v>
                </c:pt>
                <c:pt idx="95">
                  <c:v>273</c:v>
                </c:pt>
                <c:pt idx="96">
                  <c:v>224</c:v>
                </c:pt>
                <c:pt idx="97">
                  <c:v>984</c:v>
                </c:pt>
                <c:pt idx="98">
                  <c:v>830</c:v>
                </c:pt>
                <c:pt idx="99">
                  <c:v>889</c:v>
                </c:pt>
                <c:pt idx="100">
                  <c:v>812</c:v>
                </c:pt>
                <c:pt idx="101">
                  <c:v>317</c:v>
                </c:pt>
                <c:pt idx="102">
                  <c:v>178</c:v>
                </c:pt>
                <c:pt idx="103">
                  <c:v>479</c:v>
                </c:pt>
                <c:pt idx="104">
                  <c:v>595</c:v>
                </c:pt>
                <c:pt idx="105">
                  <c:v>540</c:v>
                </c:pt>
                <c:pt idx="106">
                  <c:v>800</c:v>
                </c:pt>
                <c:pt idx="107">
                  <c:v>768</c:v>
                </c:pt>
                <c:pt idx="108">
                  <c:v>106</c:v>
                </c:pt>
                <c:pt idx="109">
                  <c:v>92</c:v>
                </c:pt>
                <c:pt idx="110">
                  <c:v>482</c:v>
                </c:pt>
                <c:pt idx="111">
                  <c:v>434</c:v>
                </c:pt>
                <c:pt idx="112">
                  <c:v>358</c:v>
                </c:pt>
                <c:pt idx="113">
                  <c:v>443</c:v>
                </c:pt>
                <c:pt idx="114">
                  <c:v>287</c:v>
                </c:pt>
                <c:pt idx="115">
                  <c:v>80</c:v>
                </c:pt>
                <c:pt idx="116">
                  <c:v>50</c:v>
                </c:pt>
                <c:pt idx="117">
                  <c:v>229</c:v>
                </c:pt>
                <c:pt idx="118">
                  <c:v>294</c:v>
                </c:pt>
                <c:pt idx="119">
                  <c:v>379</c:v>
                </c:pt>
                <c:pt idx="120">
                  <c:v>507</c:v>
                </c:pt>
                <c:pt idx="121">
                  <c:v>263</c:v>
                </c:pt>
                <c:pt idx="122">
                  <c:v>48</c:v>
                </c:pt>
                <c:pt idx="123">
                  <c:v>43</c:v>
                </c:pt>
                <c:pt idx="124">
                  <c:v>131</c:v>
                </c:pt>
                <c:pt idx="125">
                  <c:v>315</c:v>
                </c:pt>
                <c:pt idx="126">
                  <c:v>336</c:v>
                </c:pt>
                <c:pt idx="127">
                  <c:v>421</c:v>
                </c:pt>
                <c:pt idx="128">
                  <c:v>365</c:v>
                </c:pt>
                <c:pt idx="129">
                  <c:v>36</c:v>
                </c:pt>
                <c:pt idx="130">
                  <c:v>29</c:v>
                </c:pt>
                <c:pt idx="131">
                  <c:v>464</c:v>
                </c:pt>
                <c:pt idx="132">
                  <c:v>653</c:v>
                </c:pt>
                <c:pt idx="133">
                  <c:v>628</c:v>
                </c:pt>
                <c:pt idx="134">
                  <c:v>703</c:v>
                </c:pt>
                <c:pt idx="135">
                  <c:v>245</c:v>
                </c:pt>
                <c:pt idx="136">
                  <c:v>113</c:v>
                </c:pt>
                <c:pt idx="137">
                  <c:v>98</c:v>
                </c:pt>
                <c:pt idx="138">
                  <c:v>333</c:v>
                </c:pt>
                <c:pt idx="139">
                  <c:v>737</c:v>
                </c:pt>
                <c:pt idx="140">
                  <c:v>889</c:v>
                </c:pt>
                <c:pt idx="141">
                  <c:v>1247</c:v>
                </c:pt>
                <c:pt idx="142">
                  <c:v>867</c:v>
                </c:pt>
                <c:pt idx="143">
                  <c:v>281</c:v>
                </c:pt>
                <c:pt idx="144">
                  <c:v>181</c:v>
                </c:pt>
                <c:pt idx="145">
                  <c:v>703</c:v>
                </c:pt>
                <c:pt idx="146">
                  <c:v>883</c:v>
                </c:pt>
                <c:pt idx="147">
                  <c:v>784</c:v>
                </c:pt>
                <c:pt idx="148">
                  <c:v>1140</c:v>
                </c:pt>
                <c:pt idx="149">
                  <c:v>815</c:v>
                </c:pt>
                <c:pt idx="150">
                  <c:v>163</c:v>
                </c:pt>
                <c:pt idx="151">
                  <c:v>145</c:v>
                </c:pt>
                <c:pt idx="152">
                  <c:v>841</c:v>
                </c:pt>
                <c:pt idx="153">
                  <c:v>1037</c:v>
                </c:pt>
                <c:pt idx="154">
                  <c:v>1217</c:v>
                </c:pt>
                <c:pt idx="155">
                  <c:v>1356</c:v>
                </c:pt>
                <c:pt idx="156">
                  <c:v>1027</c:v>
                </c:pt>
                <c:pt idx="157">
                  <c:v>296</c:v>
                </c:pt>
                <c:pt idx="158">
                  <c:v>209</c:v>
                </c:pt>
                <c:pt idx="159">
                  <c:v>897</c:v>
                </c:pt>
                <c:pt idx="160">
                  <c:v>1118</c:v>
                </c:pt>
                <c:pt idx="161">
                  <c:v>1351</c:v>
                </c:pt>
                <c:pt idx="162">
                  <c:v>1369</c:v>
                </c:pt>
                <c:pt idx="163">
                  <c:v>1017</c:v>
                </c:pt>
                <c:pt idx="164">
                  <c:v>277</c:v>
                </c:pt>
                <c:pt idx="165">
                  <c:v>191</c:v>
                </c:pt>
                <c:pt idx="166">
                  <c:v>741</c:v>
                </c:pt>
                <c:pt idx="167">
                  <c:v>878</c:v>
                </c:pt>
                <c:pt idx="168">
                  <c:v>825</c:v>
                </c:pt>
                <c:pt idx="169">
                  <c:v>955</c:v>
                </c:pt>
                <c:pt idx="170">
                  <c:v>749</c:v>
                </c:pt>
                <c:pt idx="171">
                  <c:v>263</c:v>
                </c:pt>
                <c:pt idx="172">
                  <c:v>171</c:v>
                </c:pt>
                <c:pt idx="173">
                  <c:v>589</c:v>
                </c:pt>
                <c:pt idx="174">
                  <c:v>849</c:v>
                </c:pt>
                <c:pt idx="175">
                  <c:v>818</c:v>
                </c:pt>
                <c:pt idx="176">
                  <c:v>881</c:v>
                </c:pt>
                <c:pt idx="177">
                  <c:v>728</c:v>
                </c:pt>
                <c:pt idx="178">
                  <c:v>494</c:v>
                </c:pt>
                <c:pt idx="179">
                  <c:v>438</c:v>
                </c:pt>
                <c:pt idx="180">
                  <c:v>616</c:v>
                </c:pt>
                <c:pt idx="181">
                  <c:v>748</c:v>
                </c:pt>
                <c:pt idx="182">
                  <c:v>7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3D85-47C2-92CB-D22E4A4C65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831664431"/>
        <c:axId val="711924943"/>
      </c:barChart>
      <c:dateAx>
        <c:axId val="83166443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11924943"/>
        <c:crosses val="autoZero"/>
        <c:auto val="1"/>
        <c:lblOffset val="100"/>
        <c:baseTimeUnit val="days"/>
      </c:dateAx>
      <c:valAx>
        <c:axId val="71192494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3166443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94072247296032108"/>
          <c:y val="3.3915582154437109E-2"/>
          <c:w val="5.2695597959187372E-2"/>
          <c:h val="0.8913624188649099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900"/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4 15-19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B$5:$B$187</c:f>
              <c:numCache>
                <c:formatCode>0.00%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2.1395362769073441E-6</c:v>
                </c:pt>
                <c:pt idx="19">
                  <c:v>4.2790725538146883E-6</c:v>
                </c:pt>
                <c:pt idx="20">
                  <c:v>1.0697681384536721E-5</c:v>
                </c:pt>
                <c:pt idx="21">
                  <c:v>1.2837217661444066E-5</c:v>
                </c:pt>
                <c:pt idx="22">
                  <c:v>1.9255826492166096E-5</c:v>
                </c:pt>
                <c:pt idx="23">
                  <c:v>2.3534899045980785E-5</c:v>
                </c:pt>
                <c:pt idx="24">
                  <c:v>2.3534899045980785E-5</c:v>
                </c:pt>
                <c:pt idx="25">
                  <c:v>2.3534899045980785E-5</c:v>
                </c:pt>
                <c:pt idx="26">
                  <c:v>3.4232580430517506E-5</c:v>
                </c:pt>
                <c:pt idx="27">
                  <c:v>4.706979809196157E-5</c:v>
                </c:pt>
                <c:pt idx="28">
                  <c:v>8.3441914799386419E-5</c:v>
                </c:pt>
                <c:pt idx="29">
                  <c:v>1.0697681384536721E-4</c:v>
                </c:pt>
                <c:pt idx="30">
                  <c:v>1.4976753938351409E-4</c:v>
                </c:pt>
                <c:pt idx="31">
                  <c:v>1.5404661193732877E-4</c:v>
                </c:pt>
                <c:pt idx="32">
                  <c:v>1.5832568449114347E-4</c:v>
                </c:pt>
                <c:pt idx="33">
                  <c:v>1.9255826492166098E-4</c:v>
                </c:pt>
                <c:pt idx="34">
                  <c:v>2.5460481695197397E-4</c:v>
                </c:pt>
                <c:pt idx="35">
                  <c:v>3.2520951408991633E-4</c:v>
                </c:pt>
                <c:pt idx="36">
                  <c:v>4.0437235633548804E-4</c:v>
                </c:pt>
                <c:pt idx="37">
                  <c:v>4.9637241624250381E-4</c:v>
                </c:pt>
                <c:pt idx="38">
                  <c:v>5.0279102507322588E-4</c:v>
                </c:pt>
                <c:pt idx="39">
                  <c:v>5.1990731528848467E-4</c:v>
                </c:pt>
                <c:pt idx="40">
                  <c:v>5.9051201242642703E-4</c:v>
                </c:pt>
                <c:pt idx="41">
                  <c:v>6.8251207233344276E-4</c:v>
                </c:pt>
                <c:pt idx="42">
                  <c:v>7.2958187042540437E-4</c:v>
                </c:pt>
                <c:pt idx="43">
                  <c:v>8.044656401171614E-4</c:v>
                </c:pt>
                <c:pt idx="44">
                  <c:v>8.7507033725510376E-4</c:v>
                </c:pt>
                <c:pt idx="45">
                  <c:v>8.7934940980891844E-4</c:v>
                </c:pt>
                <c:pt idx="46">
                  <c:v>8.8148894608582583E-4</c:v>
                </c:pt>
                <c:pt idx="47">
                  <c:v>9.1144245396252864E-4</c:v>
                </c:pt>
                <c:pt idx="48">
                  <c:v>9.7134946971593427E-4</c:v>
                </c:pt>
                <c:pt idx="49">
                  <c:v>1.0355355580231546E-3</c:v>
                </c:pt>
                <c:pt idx="50">
                  <c:v>1.0676286021767648E-3</c:v>
                </c:pt>
                <c:pt idx="51">
                  <c:v>1.0804658198382089E-3</c:v>
                </c:pt>
                <c:pt idx="52">
                  <c:v>1.0804658198382089E-3</c:v>
                </c:pt>
                <c:pt idx="53">
                  <c:v>1.0804658198382089E-3</c:v>
                </c:pt>
                <c:pt idx="54">
                  <c:v>1.0933030374996528E-3</c:v>
                </c:pt>
                <c:pt idx="55">
                  <c:v>1.1232565453763556E-3</c:v>
                </c:pt>
                <c:pt idx="56">
                  <c:v>1.1339542267608924E-3</c:v>
                </c:pt>
                <c:pt idx="57">
                  <c:v>1.1681868071914099E-3</c:v>
                </c:pt>
                <c:pt idx="58">
                  <c:v>1.193861242514298E-3</c:v>
                </c:pt>
                <c:pt idx="59">
                  <c:v>1.193861242514298E-3</c:v>
                </c:pt>
                <c:pt idx="60">
                  <c:v>1.1960007787912054E-3</c:v>
                </c:pt>
                <c:pt idx="61">
                  <c:v>1.2066984601757421E-3</c:v>
                </c:pt>
                <c:pt idx="62">
                  <c:v>1.2152566052833714E-3</c:v>
                </c:pt>
                <c:pt idx="63">
                  <c:v>1.2366519680524449E-3</c:v>
                </c:pt>
                <c:pt idx="64">
                  <c:v>1.2601868670984258E-3</c:v>
                </c:pt>
                <c:pt idx="65">
                  <c:v>1.2837217661444064E-3</c:v>
                </c:pt>
                <c:pt idx="66">
                  <c:v>1.2837217661444064E-3</c:v>
                </c:pt>
                <c:pt idx="67">
                  <c:v>1.2858613024213138E-3</c:v>
                </c:pt>
                <c:pt idx="68">
                  <c:v>1.3008380563596653E-3</c:v>
                </c:pt>
                <c:pt idx="69">
                  <c:v>1.3286520279594607E-3</c:v>
                </c:pt>
                <c:pt idx="70">
                  <c:v>1.3586055358361636E-3</c:v>
                </c:pt>
                <c:pt idx="71">
                  <c:v>1.4120939427588472E-3</c:v>
                </c:pt>
                <c:pt idx="72">
                  <c:v>1.454884668296994E-3</c:v>
                </c:pt>
                <c:pt idx="73">
                  <c:v>1.4655823496815307E-3</c:v>
                </c:pt>
                <c:pt idx="74">
                  <c:v>1.4677218859584381E-3</c:v>
                </c:pt>
                <c:pt idx="75">
                  <c:v>1.4998149301120483E-3</c:v>
                </c:pt>
                <c:pt idx="76">
                  <c:v>1.5340475105425657E-3</c:v>
                </c:pt>
                <c:pt idx="77">
                  <c:v>1.5597219458654539E-3</c:v>
                </c:pt>
                <c:pt idx="78">
                  <c:v>1.6174894253419521E-3</c:v>
                </c:pt>
                <c:pt idx="79">
                  <c:v>1.8100476902636132E-3</c:v>
                </c:pt>
                <c:pt idx="80">
                  <c:v>1.8999082138937216E-3</c:v>
                </c:pt>
                <c:pt idx="81">
                  <c:v>1.9041872864475364E-3</c:v>
                </c:pt>
                <c:pt idx="82">
                  <c:v>1.9405594031549611E-3</c:v>
                </c:pt>
                <c:pt idx="83">
                  <c:v>1.9640943022009418E-3</c:v>
                </c:pt>
                <c:pt idx="84">
                  <c:v>1.9940478100776448E-3</c:v>
                </c:pt>
                <c:pt idx="85">
                  <c:v>2.0389780718926991E-3</c:v>
                </c:pt>
                <c:pt idx="86">
                  <c:v>2.0860478699846604E-3</c:v>
                </c:pt>
                <c:pt idx="87">
                  <c:v>2.1074432327537339E-3</c:v>
                </c:pt>
                <c:pt idx="88">
                  <c:v>2.1160013778613635E-3</c:v>
                </c:pt>
                <c:pt idx="89">
                  <c:v>2.1545130308456956E-3</c:v>
                </c:pt>
                <c:pt idx="90">
                  <c:v>2.3706061948133373E-3</c:v>
                </c:pt>
                <c:pt idx="91">
                  <c:v>2.449769037058909E-3</c:v>
                </c:pt>
                <c:pt idx="92">
                  <c:v>2.5310714155813881E-3</c:v>
                </c:pt>
                <c:pt idx="93">
                  <c:v>2.5802807499502572E-3</c:v>
                </c:pt>
                <c:pt idx="94">
                  <c:v>2.6187924029345893E-3</c:v>
                </c:pt>
                <c:pt idx="95">
                  <c:v>2.6444668382574776E-3</c:v>
                </c:pt>
                <c:pt idx="96">
                  <c:v>2.678699418687995E-3</c:v>
                </c:pt>
                <c:pt idx="97">
                  <c:v>2.8712576836096558E-3</c:v>
                </c:pt>
                <c:pt idx="98">
                  <c:v>3.0253042955469848E-3</c:v>
                </c:pt>
                <c:pt idx="99">
                  <c:v>3.1750718349304987E-3</c:v>
                </c:pt>
                <c:pt idx="100">
                  <c:v>3.4275371156055655E-3</c:v>
                </c:pt>
                <c:pt idx="101">
                  <c:v>3.5452116108354694E-3</c:v>
                </c:pt>
                <c:pt idx="102">
                  <c:v>3.5987000177581528E-3</c:v>
                </c:pt>
                <c:pt idx="103">
                  <c:v>3.7185140492649641E-3</c:v>
                </c:pt>
                <c:pt idx="104">
                  <c:v>3.8083745728950727E-3</c:v>
                </c:pt>
                <c:pt idx="105">
                  <c:v>3.8896769514175518E-3</c:v>
                </c:pt>
                <c:pt idx="106">
                  <c:v>4.0094909829243627E-3</c:v>
                </c:pt>
                <c:pt idx="107">
                  <c:v>4.2833516263685034E-3</c:v>
                </c:pt>
                <c:pt idx="108">
                  <c:v>4.3304214244604643E-3</c:v>
                </c:pt>
                <c:pt idx="109">
                  <c:v>4.3496772509526308E-3</c:v>
                </c:pt>
                <c:pt idx="110">
                  <c:v>4.4331191657520173E-3</c:v>
                </c:pt>
                <c:pt idx="111">
                  <c:v>4.512282007997589E-3</c:v>
                </c:pt>
                <c:pt idx="112">
                  <c:v>4.6021425316276976E-3</c:v>
                </c:pt>
                <c:pt idx="113">
                  <c:v>4.6641890836580102E-3</c:v>
                </c:pt>
                <c:pt idx="114">
                  <c:v>4.7861426514417289E-3</c:v>
                </c:pt>
                <c:pt idx="115">
                  <c:v>4.8053984779338954E-3</c:v>
                </c:pt>
                <c:pt idx="116">
                  <c:v>4.8289333769798758E-3</c:v>
                </c:pt>
                <c:pt idx="117">
                  <c:v>4.8760031750718375E-3</c:v>
                </c:pt>
                <c:pt idx="118">
                  <c:v>4.927352045717614E-3</c:v>
                </c:pt>
                <c:pt idx="119">
                  <c:v>5.0022358154093709E-3</c:v>
                </c:pt>
                <c:pt idx="120">
                  <c:v>5.0535846860551466E-3</c:v>
                </c:pt>
                <c:pt idx="121">
                  <c:v>5.1306079920238109E-3</c:v>
                </c:pt>
                <c:pt idx="122">
                  <c:v>5.1562824273466996E-3</c:v>
                </c:pt>
                <c:pt idx="123">
                  <c:v>5.1776777901157726E-3</c:v>
                </c:pt>
                <c:pt idx="124">
                  <c:v>5.2161894431001048E-3</c:v>
                </c:pt>
                <c:pt idx="125">
                  <c:v>5.2525615598075295E-3</c:v>
                </c:pt>
                <c:pt idx="126">
                  <c:v>5.3103290392840282E-3</c:v>
                </c:pt>
                <c:pt idx="127">
                  <c:v>5.3488406922683604E-3</c:v>
                </c:pt>
                <c:pt idx="128">
                  <c:v>5.4365616796215616E-3</c:v>
                </c:pt>
                <c:pt idx="129">
                  <c:v>5.438701215898469E-3</c:v>
                </c:pt>
                <c:pt idx="130">
                  <c:v>5.4408407521753764E-3</c:v>
                </c:pt>
                <c:pt idx="131">
                  <c:v>5.4772128688828012E-3</c:v>
                </c:pt>
                <c:pt idx="132">
                  <c:v>5.5820501464512607E-3</c:v>
                </c:pt>
                <c:pt idx="133">
                  <c:v>5.6975851054042572E-3</c:v>
                </c:pt>
                <c:pt idx="134">
                  <c:v>5.804561919249625E-3</c:v>
                </c:pt>
                <c:pt idx="135">
                  <c:v>5.8666084712799375E-3</c:v>
                </c:pt>
                <c:pt idx="136">
                  <c:v>5.9136782693718993E-3</c:v>
                </c:pt>
                <c:pt idx="137">
                  <c:v>5.9479108498024166E-3</c:v>
                </c:pt>
                <c:pt idx="138">
                  <c:v>5.9885620390636562E-3</c:v>
                </c:pt>
                <c:pt idx="139">
                  <c:v>6.0591667362015983E-3</c:v>
                </c:pt>
                <c:pt idx="140">
                  <c:v>6.1554458686624292E-3</c:v>
                </c:pt>
                <c:pt idx="141">
                  <c:v>6.3201901619842947E-3</c:v>
                </c:pt>
                <c:pt idx="142">
                  <c:v>6.5191670357366777E-3</c:v>
                </c:pt>
                <c:pt idx="143">
                  <c:v>6.596190341705342E-3</c:v>
                </c:pt>
                <c:pt idx="144">
                  <c:v>6.6839113290585433E-3</c:v>
                </c:pt>
                <c:pt idx="145">
                  <c:v>6.8700509851494819E-3</c:v>
                </c:pt>
                <c:pt idx="146">
                  <c:v>7.0412138873020697E-3</c:v>
                </c:pt>
                <c:pt idx="147">
                  <c:v>7.1867023541317687E-3</c:v>
                </c:pt>
                <c:pt idx="148">
                  <c:v>7.4541443887451873E-3</c:v>
                </c:pt>
                <c:pt idx="149">
                  <c:v>7.7023305968664394E-3</c:v>
                </c:pt>
                <c:pt idx="150">
                  <c:v>7.8007492656041767E-3</c:v>
                </c:pt>
                <c:pt idx="151">
                  <c:v>7.877772571572841E-3</c:v>
                </c:pt>
                <c:pt idx="152">
                  <c:v>8.1644704326784261E-3</c:v>
                </c:pt>
                <c:pt idx="153">
                  <c:v>1.3417031992485956E-2</c:v>
                </c:pt>
                <c:pt idx="154">
                  <c:v>1.8772291293585038E-2</c:v>
                </c:pt>
                <c:pt idx="155">
                  <c:v>2.4210992509483508E-2</c:v>
                </c:pt>
                <c:pt idx="156">
                  <c:v>2.9681786769535586E-2</c:v>
                </c:pt>
                <c:pt idx="157">
                  <c:v>3.4977139054881264E-2</c:v>
                </c:pt>
                <c:pt idx="158">
                  <c:v>4.0189049425427552E-2</c:v>
                </c:pt>
                <c:pt idx="159">
                  <c:v>4.553147150886519E-2</c:v>
                </c:pt>
                <c:pt idx="160">
                  <c:v>5.083966101187231E-2</c:v>
                </c:pt>
                <c:pt idx="161">
                  <c:v>5.620561799435593E-2</c:v>
                </c:pt>
                <c:pt idx="162">
                  <c:v>6.1528784251301406E-2</c:v>
                </c:pt>
                <c:pt idx="163">
                  <c:v>6.6988880829968941E-2</c:v>
                </c:pt>
                <c:pt idx="164">
                  <c:v>7.2172977228915441E-2</c:v>
                </c:pt>
                <c:pt idx="165">
                  <c:v>7.7378468990631014E-2</c:v>
                </c:pt>
                <c:pt idx="166">
                  <c:v>8.2770100408437519E-2</c:v>
                </c:pt>
                <c:pt idx="167">
                  <c:v>8.8155313217413309E-2</c:v>
                </c:pt>
                <c:pt idx="168">
                  <c:v>9.3660340057895905E-2</c:v>
                </c:pt>
                <c:pt idx="169">
                  <c:v>9.9064808693363843E-2</c:v>
                </c:pt>
                <c:pt idx="170">
                  <c:v>0.1046425797672613</c:v>
                </c:pt>
                <c:pt idx="171">
                  <c:v>0.1099186762261148</c:v>
                </c:pt>
                <c:pt idx="172">
                  <c:v>0.11511774937899966</c:v>
                </c:pt>
                <c:pt idx="173">
                  <c:v>0.12052863662329832</c:v>
                </c:pt>
                <c:pt idx="174">
                  <c:v>0.1259694773754737</c:v>
                </c:pt>
                <c:pt idx="175">
                  <c:v>0.13140389951881837</c:v>
                </c:pt>
                <c:pt idx="176">
                  <c:v>0.13684260073471682</c:v>
                </c:pt>
                <c:pt idx="177">
                  <c:v>0.1422855810231691</c:v>
                </c:pt>
                <c:pt idx="178">
                  <c:v>0.14771786363023687</c:v>
                </c:pt>
                <c:pt idx="179">
                  <c:v>0.15315014623730461</c:v>
                </c:pt>
                <c:pt idx="180">
                  <c:v>0.15858456838064924</c:v>
                </c:pt>
                <c:pt idx="181">
                  <c:v>0.16401899052399391</c:v>
                </c:pt>
                <c:pt idx="182">
                  <c:v>0.169464110348723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27A-4123-86A8-89323E6F14AF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5 20-24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C$5:$C$187</c:f>
              <c:numCache>
                <c:formatCode>0.00%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4.6183162422166321E-5</c:v>
                </c:pt>
                <c:pt idx="19">
                  <c:v>1.7870875893794794E-4</c:v>
                </c:pt>
                <c:pt idx="20">
                  <c:v>3.3131399128945408E-4</c:v>
                </c:pt>
                <c:pt idx="21">
                  <c:v>4.8191126005738769E-4</c:v>
                </c:pt>
                <c:pt idx="22">
                  <c:v>5.9435722073744482E-4</c:v>
                </c:pt>
                <c:pt idx="23">
                  <c:v>6.4656427391032853E-4</c:v>
                </c:pt>
                <c:pt idx="24">
                  <c:v>6.947553999160673E-4</c:v>
                </c:pt>
                <c:pt idx="25">
                  <c:v>7.5097838025609584E-4</c:v>
                </c:pt>
                <c:pt idx="26">
                  <c:v>9.1161546694189179E-4</c:v>
                </c:pt>
                <c:pt idx="27">
                  <c:v>1.1063879345484192E-3</c:v>
                </c:pt>
                <c:pt idx="28">
                  <c:v>1.3152161472399539E-3</c:v>
                </c:pt>
                <c:pt idx="29">
                  <c:v>1.6324743934444008E-3</c:v>
                </c:pt>
                <c:pt idx="30">
                  <c:v>2.032059146575318E-3</c:v>
                </c:pt>
                <c:pt idx="31">
                  <c:v>2.0862741633317743E-3</c:v>
                </c:pt>
                <c:pt idx="32">
                  <c:v>2.1565528887568098E-3</c:v>
                </c:pt>
                <c:pt idx="33">
                  <c:v>2.6705915661513571E-3</c:v>
                </c:pt>
                <c:pt idx="34">
                  <c:v>3.2870363863080985E-3</c:v>
                </c:pt>
                <c:pt idx="35">
                  <c:v>3.8633219347933914E-3</c:v>
                </c:pt>
                <c:pt idx="36">
                  <c:v>4.5821728977123279E-3</c:v>
                </c:pt>
                <c:pt idx="37">
                  <c:v>5.1664903005319111E-3</c:v>
                </c:pt>
                <c:pt idx="38">
                  <c:v>5.2367690259569463E-3</c:v>
                </c:pt>
                <c:pt idx="39">
                  <c:v>5.3211034964669897E-3</c:v>
                </c:pt>
                <c:pt idx="40">
                  <c:v>5.8773094091165573E-3</c:v>
                </c:pt>
                <c:pt idx="41">
                  <c:v>6.2568145264117504E-3</c:v>
                </c:pt>
                <c:pt idx="42">
                  <c:v>6.6302957529562256E-3</c:v>
                </c:pt>
                <c:pt idx="43">
                  <c:v>7.0037769795007017E-3</c:v>
                </c:pt>
                <c:pt idx="44">
                  <c:v>7.3973378418809013E-3</c:v>
                </c:pt>
                <c:pt idx="45">
                  <c:v>7.4636006401387926E-3</c:v>
                </c:pt>
                <c:pt idx="46">
                  <c:v>7.471632494473082E-3</c:v>
                </c:pt>
                <c:pt idx="47">
                  <c:v>7.7406996146717902E-3</c:v>
                </c:pt>
                <c:pt idx="48">
                  <c:v>8.0539419337090929E-3</c:v>
                </c:pt>
                <c:pt idx="49">
                  <c:v>8.2868657094034969E-3</c:v>
                </c:pt>
                <c:pt idx="50">
                  <c:v>8.5057337400128927E-3</c:v>
                </c:pt>
                <c:pt idx="51">
                  <c:v>8.6924743532851307E-3</c:v>
                </c:pt>
                <c:pt idx="52">
                  <c:v>8.6964902804522754E-3</c:v>
                </c:pt>
                <c:pt idx="53">
                  <c:v>8.7045221347865648E-3</c:v>
                </c:pt>
                <c:pt idx="54">
                  <c:v>8.9033105295602388E-3</c:v>
                </c:pt>
                <c:pt idx="55">
                  <c:v>9.061939652662462E-3</c:v>
                </c:pt>
                <c:pt idx="56">
                  <c:v>9.20048913992896E-3</c:v>
                </c:pt>
                <c:pt idx="57">
                  <c:v>9.3812058624504809E-3</c:v>
                </c:pt>
                <c:pt idx="58">
                  <c:v>9.521763313300553E-3</c:v>
                </c:pt>
                <c:pt idx="59">
                  <c:v>9.5257792404676977E-3</c:v>
                </c:pt>
                <c:pt idx="60">
                  <c:v>9.5297951676348424E-3</c:v>
                </c:pt>
                <c:pt idx="61">
                  <c:v>9.6221614924791744E-3</c:v>
                </c:pt>
                <c:pt idx="62">
                  <c:v>9.6924402179042104E-3</c:v>
                </c:pt>
                <c:pt idx="63">
                  <c:v>9.7948463606664059E-3</c:v>
                </c:pt>
                <c:pt idx="64">
                  <c:v>9.9012684305957444E-3</c:v>
                </c:pt>
                <c:pt idx="65">
                  <c:v>1.0039817917862244E-2</c:v>
                </c:pt>
                <c:pt idx="66">
                  <c:v>1.0057889590114395E-2</c:v>
                </c:pt>
                <c:pt idx="67">
                  <c:v>1.0067929408032259E-2</c:v>
                </c:pt>
                <c:pt idx="68">
                  <c:v>1.0184391295879461E-2</c:v>
                </c:pt>
                <c:pt idx="69">
                  <c:v>1.0312900965228097E-2</c:v>
                </c:pt>
                <c:pt idx="70">
                  <c:v>1.0511689360001769E-2</c:v>
                </c:pt>
                <c:pt idx="71">
                  <c:v>1.075063702644689E-2</c:v>
                </c:pt>
                <c:pt idx="72">
                  <c:v>1.1005648401560592E-2</c:v>
                </c:pt>
                <c:pt idx="73">
                  <c:v>1.102773600097989E-2</c:v>
                </c:pt>
                <c:pt idx="74">
                  <c:v>1.1049823600399186E-2</c:v>
                </c:pt>
                <c:pt idx="75">
                  <c:v>1.1300819048345742E-2</c:v>
                </c:pt>
                <c:pt idx="76">
                  <c:v>1.157791802287874E-2</c:v>
                </c:pt>
                <c:pt idx="77">
                  <c:v>1.188915237833247E-2</c:v>
                </c:pt>
                <c:pt idx="78">
                  <c:v>1.2210426551704061E-2</c:v>
                </c:pt>
                <c:pt idx="79">
                  <c:v>1.2608003341251405E-2</c:v>
                </c:pt>
                <c:pt idx="80">
                  <c:v>1.2658202430840718E-2</c:v>
                </c:pt>
                <c:pt idx="81">
                  <c:v>1.2684305957427158E-2</c:v>
                </c:pt>
                <c:pt idx="82">
                  <c:v>1.2961404931960158E-2</c:v>
                </c:pt>
                <c:pt idx="83">
                  <c:v>1.3294726886833183E-2</c:v>
                </c:pt>
                <c:pt idx="84">
                  <c:v>1.3577849752116899E-2</c:v>
                </c:pt>
                <c:pt idx="85">
                  <c:v>1.3889084107570629E-2</c:v>
                </c:pt>
                <c:pt idx="86">
                  <c:v>1.4308748496537271E-2</c:v>
                </c:pt>
                <c:pt idx="87">
                  <c:v>1.4397098894214458E-2</c:v>
                </c:pt>
                <c:pt idx="88">
                  <c:v>1.4493481146225935E-2</c:v>
                </c:pt>
                <c:pt idx="89">
                  <c:v>1.4891057935773281E-2</c:v>
                </c:pt>
                <c:pt idx="90">
                  <c:v>1.5401080686000683E-2</c:v>
                </c:pt>
                <c:pt idx="91">
                  <c:v>1.6184186483593939E-2</c:v>
                </c:pt>
                <c:pt idx="92">
                  <c:v>1.7057650642447953E-2</c:v>
                </c:pt>
                <c:pt idx="93">
                  <c:v>1.7276518673057351E-2</c:v>
                </c:pt>
                <c:pt idx="94">
                  <c:v>1.7577713210593218E-2</c:v>
                </c:pt>
                <c:pt idx="95">
                  <c:v>1.7750398078780448E-2</c:v>
                </c:pt>
                <c:pt idx="96">
                  <c:v>1.7896979420381237E-2</c:v>
                </c:pt>
                <c:pt idx="97">
                  <c:v>1.9003367354929655E-2</c:v>
                </c:pt>
                <c:pt idx="98">
                  <c:v>1.9611780320752108E-2</c:v>
                </c:pt>
                <c:pt idx="99">
                  <c:v>2.0334647210838188E-2</c:v>
                </c:pt>
                <c:pt idx="100">
                  <c:v>2.1179999879522189E-2</c:v>
                </c:pt>
                <c:pt idx="101">
                  <c:v>2.1519345725145935E-2</c:v>
                </c:pt>
                <c:pt idx="102">
                  <c:v>2.173018190142104E-2</c:v>
                </c:pt>
                <c:pt idx="103">
                  <c:v>2.2256268360317022E-2</c:v>
                </c:pt>
                <c:pt idx="104">
                  <c:v>2.2832553908802317E-2</c:v>
                </c:pt>
                <c:pt idx="105">
                  <c:v>2.3370688149199733E-2</c:v>
                </c:pt>
                <c:pt idx="106">
                  <c:v>2.3902798498846429E-2</c:v>
                </c:pt>
                <c:pt idx="107">
                  <c:v>2.4577474262926773E-2</c:v>
                </c:pt>
                <c:pt idx="108">
                  <c:v>2.4812406002204749E-2</c:v>
                </c:pt>
                <c:pt idx="109">
                  <c:v>2.4914812144966946E-2</c:v>
                </c:pt>
                <c:pt idx="110">
                  <c:v>2.5284277444344274E-2</c:v>
                </c:pt>
                <c:pt idx="111">
                  <c:v>2.5673822379557329E-2</c:v>
                </c:pt>
                <c:pt idx="112">
                  <c:v>2.613364604019542E-2</c:v>
                </c:pt>
                <c:pt idx="113">
                  <c:v>2.6695875843595708E-2</c:v>
                </c:pt>
                <c:pt idx="114">
                  <c:v>2.7197866739488818E-2</c:v>
                </c:pt>
                <c:pt idx="115">
                  <c:v>2.7406694952180354E-2</c:v>
                </c:pt>
                <c:pt idx="116">
                  <c:v>2.7563316111699005E-2</c:v>
                </c:pt>
                <c:pt idx="117">
                  <c:v>2.7742024870636952E-2</c:v>
                </c:pt>
                <c:pt idx="118">
                  <c:v>2.799502828216708E-2</c:v>
                </c:pt>
                <c:pt idx="119">
                  <c:v>2.8330358200623681E-2</c:v>
                </c:pt>
                <c:pt idx="120">
                  <c:v>2.87660862982589E-2</c:v>
                </c:pt>
                <c:pt idx="121">
                  <c:v>2.9071296762961912E-2</c:v>
                </c:pt>
                <c:pt idx="122">
                  <c:v>2.9141575488386948E-2</c:v>
                </c:pt>
                <c:pt idx="123">
                  <c:v>2.9191774577976261E-2</c:v>
                </c:pt>
                <c:pt idx="124">
                  <c:v>2.9360443518996346E-2</c:v>
                </c:pt>
                <c:pt idx="125">
                  <c:v>2.9505016897013563E-2</c:v>
                </c:pt>
                <c:pt idx="126">
                  <c:v>2.9665653983699358E-2</c:v>
                </c:pt>
                <c:pt idx="127">
                  <c:v>2.9858418487722315E-2</c:v>
                </c:pt>
                <c:pt idx="128">
                  <c:v>3.0115437826419587E-2</c:v>
                </c:pt>
                <c:pt idx="129">
                  <c:v>3.0167644879592472E-2</c:v>
                </c:pt>
                <c:pt idx="130">
                  <c:v>3.0193748406178913E-2</c:v>
                </c:pt>
                <c:pt idx="131">
                  <c:v>3.0346353638530419E-2</c:v>
                </c:pt>
                <c:pt idx="132">
                  <c:v>3.0854368425174247E-2</c:v>
                </c:pt>
                <c:pt idx="133">
                  <c:v>3.1394510629155235E-2</c:v>
                </c:pt>
                <c:pt idx="134">
                  <c:v>3.2006939522144832E-2</c:v>
                </c:pt>
                <c:pt idx="135">
                  <c:v>3.2241871261422812E-2</c:v>
                </c:pt>
                <c:pt idx="136">
                  <c:v>3.2468771146366496E-2</c:v>
                </c:pt>
                <c:pt idx="137">
                  <c:v>3.2587240997797272E-2</c:v>
                </c:pt>
                <c:pt idx="138">
                  <c:v>3.2687639176975897E-2</c:v>
                </c:pt>
                <c:pt idx="139">
                  <c:v>3.2964738151508889E-2</c:v>
                </c:pt>
                <c:pt idx="140">
                  <c:v>3.3354283086721948E-2</c:v>
                </c:pt>
                <c:pt idx="141">
                  <c:v>3.413538092073163E-2</c:v>
                </c:pt>
                <c:pt idx="142">
                  <c:v>3.5055028242007812E-2</c:v>
                </c:pt>
                <c:pt idx="143">
                  <c:v>3.5408429832716561E-2</c:v>
                </c:pt>
                <c:pt idx="144">
                  <c:v>3.5667457134997409E-2</c:v>
                </c:pt>
                <c:pt idx="145">
                  <c:v>3.6344140862661321E-2</c:v>
                </c:pt>
                <c:pt idx="146">
                  <c:v>3.7030864408243103E-2</c:v>
                </c:pt>
                <c:pt idx="147">
                  <c:v>3.7675420718569858E-2</c:v>
                </c:pt>
                <c:pt idx="148">
                  <c:v>3.878582458028542E-2</c:v>
                </c:pt>
                <c:pt idx="149">
                  <c:v>3.9882172696915977E-2</c:v>
                </c:pt>
                <c:pt idx="150">
                  <c:v>4.0400227301477673E-2</c:v>
                </c:pt>
                <c:pt idx="151">
                  <c:v>4.0864066889282909E-2</c:v>
                </c:pt>
                <c:pt idx="152">
                  <c:v>4.2010614095502774E-2</c:v>
                </c:pt>
                <c:pt idx="153">
                  <c:v>4.8048560591305127E-2</c:v>
                </c:pt>
                <c:pt idx="154">
                  <c:v>5.408650708710748E-2</c:v>
                </c:pt>
                <c:pt idx="155">
                  <c:v>6.0240915470757037E-2</c:v>
                </c:pt>
                <c:pt idx="156">
                  <c:v>6.6750733408698915E-2</c:v>
                </c:pt>
                <c:pt idx="157">
                  <c:v>7.2449334058877532E-2</c:v>
                </c:pt>
                <c:pt idx="158">
                  <c:v>7.7969225950118182E-2</c:v>
                </c:pt>
                <c:pt idx="159">
                  <c:v>8.3936893720495509E-2</c:v>
                </c:pt>
                <c:pt idx="160">
                  <c:v>8.973589254985273E-2</c:v>
                </c:pt>
                <c:pt idx="161">
                  <c:v>9.5641313449139315E-2</c:v>
                </c:pt>
                <c:pt idx="162">
                  <c:v>0.1015387024940916</c:v>
                </c:pt>
                <c:pt idx="163">
                  <c:v>0.10789792316326553</c:v>
                </c:pt>
                <c:pt idx="164">
                  <c:v>0.1133234407660783</c:v>
                </c:pt>
                <c:pt idx="165">
                  <c:v>0.11874092651455675</c:v>
                </c:pt>
                <c:pt idx="166">
                  <c:v>0.12466441908609549</c:v>
                </c:pt>
                <c:pt idx="167">
                  <c:v>0.13063811074722351</c:v>
                </c:pt>
                <c:pt idx="168">
                  <c:v>0.13666400946152443</c:v>
                </c:pt>
                <c:pt idx="169">
                  <c:v>0.142846529335344</c:v>
                </c:pt>
                <c:pt idx="170">
                  <c:v>0.14932622781953231</c:v>
                </c:pt>
                <c:pt idx="171">
                  <c:v>0.15493447010845016</c:v>
                </c:pt>
                <c:pt idx="172">
                  <c:v>0.16041621069160295</c:v>
                </c:pt>
                <c:pt idx="173">
                  <c:v>0.16632966344522379</c:v>
                </c:pt>
                <c:pt idx="174">
                  <c:v>0.17241379310344832</c:v>
                </c:pt>
                <c:pt idx="175">
                  <c:v>0.17850997054317427</c:v>
                </c:pt>
                <c:pt idx="176">
                  <c:v>0.18459209223781523</c:v>
                </c:pt>
                <c:pt idx="177">
                  <c:v>0.19067019800528903</c:v>
                </c:pt>
                <c:pt idx="178">
                  <c:v>0.19671818431900923</c:v>
                </c:pt>
                <c:pt idx="179">
                  <c:v>0.20276617063272945</c:v>
                </c:pt>
                <c:pt idx="180">
                  <c:v>0.20883423658228539</c:v>
                </c:pt>
                <c:pt idx="181">
                  <c:v>0.21492840605842778</c:v>
                </c:pt>
                <c:pt idx="182">
                  <c:v>0.220996472007983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27A-4123-86A8-89323E6F14AF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6 25-29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D$5:$D$187</c:f>
              <c:numCache>
                <c:formatCode>0.00%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.0314255946019072E-4</c:v>
                </c:pt>
                <c:pt idx="19">
                  <c:v>3.1540695718985858E-4</c:v>
                </c:pt>
                <c:pt idx="20">
                  <c:v>6.4875175080757641E-4</c:v>
                </c:pt>
                <c:pt idx="21">
                  <c:v>9.8359136412761589E-4</c:v>
                </c:pt>
                <c:pt idx="22">
                  <c:v>1.2257521559037158E-3</c:v>
                </c:pt>
                <c:pt idx="23">
                  <c:v>1.3363688138755146E-3</c:v>
                </c:pt>
                <c:pt idx="24">
                  <c:v>1.4499751112519567E-3</c:v>
                </c:pt>
                <c:pt idx="25">
                  <c:v>1.5680658677353634E-3</c:v>
                </c:pt>
                <c:pt idx="26">
                  <c:v>1.9313070553995133E-3</c:v>
                </c:pt>
                <c:pt idx="27">
                  <c:v>2.3812477857983161E-3</c:v>
                </c:pt>
                <c:pt idx="28">
                  <c:v>2.9343310756573099E-3</c:v>
                </c:pt>
                <c:pt idx="29">
                  <c:v>3.6264325978322132E-3</c:v>
                </c:pt>
                <c:pt idx="30">
                  <c:v>4.4246663188719504E-3</c:v>
                </c:pt>
                <c:pt idx="31">
                  <c:v>4.5218295995228548E-3</c:v>
                </c:pt>
                <c:pt idx="32">
                  <c:v>4.6234773392807233E-3</c:v>
                </c:pt>
                <c:pt idx="33">
                  <c:v>5.4381540770459978E-3</c:v>
                </c:pt>
                <c:pt idx="34">
                  <c:v>6.309633963499494E-3</c:v>
                </c:pt>
                <c:pt idx="35">
                  <c:v>7.1542070953112E-3</c:v>
                </c:pt>
                <c:pt idx="36">
                  <c:v>8.1183658033086355E-3</c:v>
                </c:pt>
                <c:pt idx="37">
                  <c:v>8.8941772288135476E-3</c:v>
                </c:pt>
                <c:pt idx="38">
                  <c:v>9.0092783458923121E-3</c:v>
                </c:pt>
                <c:pt idx="39">
                  <c:v>9.1213898235664326E-3</c:v>
                </c:pt>
                <c:pt idx="40">
                  <c:v>9.7208125241973961E-3</c:v>
                </c:pt>
                <c:pt idx="41">
                  <c:v>1.0211113386558881E-2</c:v>
                </c:pt>
                <c:pt idx="42">
                  <c:v>1.0693940150408761E-2</c:v>
                </c:pt>
                <c:pt idx="43">
                  <c:v>1.1212642587114357E-2</c:v>
                </c:pt>
                <c:pt idx="44">
                  <c:v>1.1693974531261914E-2</c:v>
                </c:pt>
                <c:pt idx="45">
                  <c:v>1.174629322084317E-2</c:v>
                </c:pt>
                <c:pt idx="46">
                  <c:v>1.1752272499652456E-2</c:v>
                </c:pt>
                <c:pt idx="47">
                  <c:v>1.2034793423391239E-2</c:v>
                </c:pt>
                <c:pt idx="48">
                  <c:v>1.2329272904748596E-2</c:v>
                </c:pt>
                <c:pt idx="49">
                  <c:v>1.2569938876822374E-2</c:v>
                </c:pt>
                <c:pt idx="50">
                  <c:v>1.2809110029193832E-2</c:v>
                </c:pt>
                <c:pt idx="51">
                  <c:v>1.3043796722458322E-2</c:v>
                </c:pt>
                <c:pt idx="52">
                  <c:v>1.3055755280076896E-2</c:v>
                </c:pt>
                <c:pt idx="53">
                  <c:v>1.3061734558886182E-2</c:v>
                </c:pt>
                <c:pt idx="54">
                  <c:v>1.3226164726141559E-2</c:v>
                </c:pt>
                <c:pt idx="55">
                  <c:v>1.3414512008634081E-2</c:v>
                </c:pt>
                <c:pt idx="56">
                  <c:v>1.3577447356187137E-2</c:v>
                </c:pt>
                <c:pt idx="57">
                  <c:v>1.3756825720465729E-2</c:v>
                </c:pt>
                <c:pt idx="58">
                  <c:v>1.3918266248316461E-2</c:v>
                </c:pt>
                <c:pt idx="59">
                  <c:v>1.3921255887721105E-2</c:v>
                </c:pt>
                <c:pt idx="60">
                  <c:v>1.3931719625637357E-2</c:v>
                </c:pt>
                <c:pt idx="61">
                  <c:v>1.4052800021525405E-2</c:v>
                </c:pt>
                <c:pt idx="62">
                  <c:v>1.416790113860417E-2</c:v>
                </c:pt>
                <c:pt idx="63">
                  <c:v>1.4311403830027044E-2</c:v>
                </c:pt>
                <c:pt idx="64">
                  <c:v>1.4435473865319737E-2</c:v>
                </c:pt>
                <c:pt idx="65">
                  <c:v>1.4595419573468148E-2</c:v>
                </c:pt>
                <c:pt idx="66">
                  <c:v>1.4601398852277436E-2</c:v>
                </c:pt>
                <c:pt idx="67">
                  <c:v>1.4602893671979757E-2</c:v>
                </c:pt>
                <c:pt idx="68">
                  <c:v>1.4737427445188701E-2</c:v>
                </c:pt>
                <c:pt idx="69">
                  <c:v>1.4928764367085866E-2</c:v>
                </c:pt>
                <c:pt idx="70">
                  <c:v>1.5206800831717686E-2</c:v>
                </c:pt>
                <c:pt idx="71">
                  <c:v>1.5483342476647182E-2</c:v>
                </c:pt>
                <c:pt idx="72">
                  <c:v>1.5750915203362748E-2</c:v>
                </c:pt>
                <c:pt idx="73">
                  <c:v>1.5770347859492929E-2</c:v>
                </c:pt>
                <c:pt idx="74">
                  <c:v>1.579874943383704E-2</c:v>
                </c:pt>
                <c:pt idx="75">
                  <c:v>1.6179928457929049E-2</c:v>
                </c:pt>
                <c:pt idx="76">
                  <c:v>1.6496830234821229E-2</c:v>
                </c:pt>
                <c:pt idx="77">
                  <c:v>1.6852597323973772E-2</c:v>
                </c:pt>
                <c:pt idx="78">
                  <c:v>1.7194911035805418E-2</c:v>
                </c:pt>
                <c:pt idx="79">
                  <c:v>1.7641862126799579E-2</c:v>
                </c:pt>
                <c:pt idx="80">
                  <c:v>1.7692685996678514E-2</c:v>
                </c:pt>
                <c:pt idx="81">
                  <c:v>1.7731551308938876E-2</c:v>
                </c:pt>
                <c:pt idx="82">
                  <c:v>1.8148606005886605E-2</c:v>
                </c:pt>
                <c:pt idx="83">
                  <c:v>1.8588082998369154E-2</c:v>
                </c:pt>
                <c:pt idx="84">
                  <c:v>1.8997663596805273E-2</c:v>
                </c:pt>
                <c:pt idx="85">
                  <c:v>1.9405749375539072E-2</c:v>
                </c:pt>
                <c:pt idx="86">
                  <c:v>1.9966306763909675E-2</c:v>
                </c:pt>
                <c:pt idx="87">
                  <c:v>2.0076923421881474E-2</c:v>
                </c:pt>
                <c:pt idx="88">
                  <c:v>2.0162128144913805E-2</c:v>
                </c:pt>
                <c:pt idx="89">
                  <c:v>2.0737633730307622E-2</c:v>
                </c:pt>
                <c:pt idx="90">
                  <c:v>2.1377416562901271E-2</c:v>
                </c:pt>
                <c:pt idx="91">
                  <c:v>2.2153227988406181E-2</c:v>
                </c:pt>
                <c:pt idx="92">
                  <c:v>2.3008264858134141E-2</c:v>
                </c:pt>
                <c:pt idx="93">
                  <c:v>2.3247436010505596E-2</c:v>
                </c:pt>
                <c:pt idx="94">
                  <c:v>2.3503050179602591E-2</c:v>
                </c:pt>
                <c:pt idx="95">
                  <c:v>2.3691397462095115E-2</c:v>
                </c:pt>
                <c:pt idx="96">
                  <c:v>2.3872270646076027E-2</c:v>
                </c:pt>
                <c:pt idx="97">
                  <c:v>2.4828955255561856E-2</c:v>
                </c:pt>
                <c:pt idx="98">
                  <c:v>2.5399976381848707E-2</c:v>
                </c:pt>
                <c:pt idx="99">
                  <c:v>2.6165324069437369E-2</c:v>
                </c:pt>
                <c:pt idx="100">
                  <c:v>2.7178811827611418E-2</c:v>
                </c:pt>
                <c:pt idx="101">
                  <c:v>2.75166410803361E-2</c:v>
                </c:pt>
                <c:pt idx="102">
                  <c:v>2.7769265610028453E-2</c:v>
                </c:pt>
                <c:pt idx="103">
                  <c:v>2.8268535390603866E-2</c:v>
                </c:pt>
                <c:pt idx="104">
                  <c:v>2.8867958091234831E-2</c:v>
                </c:pt>
                <c:pt idx="105">
                  <c:v>2.9450937775140257E-2</c:v>
                </c:pt>
                <c:pt idx="106">
                  <c:v>3.0038401918152647E-2</c:v>
                </c:pt>
                <c:pt idx="107">
                  <c:v>3.076936875258791E-2</c:v>
                </c:pt>
                <c:pt idx="108">
                  <c:v>3.0990602068531509E-2</c:v>
                </c:pt>
                <c:pt idx="109">
                  <c:v>3.1140084038763671E-2</c:v>
                </c:pt>
                <c:pt idx="110">
                  <c:v>3.1482397750595317E-2</c:v>
                </c:pt>
                <c:pt idx="111">
                  <c:v>3.1894967988436079E-2</c:v>
                </c:pt>
                <c:pt idx="112">
                  <c:v>3.2353877637048813E-2</c:v>
                </c:pt>
                <c:pt idx="113">
                  <c:v>3.2986186371130849E-2</c:v>
                </c:pt>
                <c:pt idx="114">
                  <c:v>3.3536280021585201E-2</c:v>
                </c:pt>
                <c:pt idx="115">
                  <c:v>3.3756018517826475E-2</c:v>
                </c:pt>
                <c:pt idx="116">
                  <c:v>3.3902510848653998E-2</c:v>
                </c:pt>
                <c:pt idx="117">
                  <c:v>3.4170083575369561E-2</c:v>
                </c:pt>
                <c:pt idx="118">
                  <c:v>3.4503428368987281E-2</c:v>
                </c:pt>
                <c:pt idx="119">
                  <c:v>3.4948884640279121E-2</c:v>
                </c:pt>
                <c:pt idx="120">
                  <c:v>3.5436195863235959E-2</c:v>
                </c:pt>
                <c:pt idx="121">
                  <c:v>3.5826343805541901E-2</c:v>
                </c:pt>
                <c:pt idx="122">
                  <c:v>3.588763141333709E-2</c:v>
                </c:pt>
                <c:pt idx="123">
                  <c:v>3.5954898299941557E-2</c:v>
                </c:pt>
                <c:pt idx="124">
                  <c:v>3.6092421712555146E-2</c:v>
                </c:pt>
                <c:pt idx="125">
                  <c:v>3.6274789716238383E-2</c:v>
                </c:pt>
                <c:pt idx="126">
                  <c:v>3.6455662900219295E-2</c:v>
                </c:pt>
                <c:pt idx="127">
                  <c:v>3.6648494641818782E-2</c:v>
                </c:pt>
                <c:pt idx="128">
                  <c:v>3.6945963762580782E-2</c:v>
                </c:pt>
                <c:pt idx="129">
                  <c:v>3.6968386058115608E-2</c:v>
                </c:pt>
                <c:pt idx="130">
                  <c:v>3.7007251370375971E-2</c:v>
                </c:pt>
                <c:pt idx="131">
                  <c:v>3.7156733340608129E-2</c:v>
                </c:pt>
                <c:pt idx="132">
                  <c:v>3.7729249286597301E-2</c:v>
                </c:pt>
                <c:pt idx="133">
                  <c:v>3.8355578741870053E-2</c:v>
                </c:pt>
                <c:pt idx="134">
                  <c:v>3.9086545576305323E-2</c:v>
                </c:pt>
                <c:pt idx="135">
                  <c:v>3.9398962894090533E-2</c:v>
                </c:pt>
                <c:pt idx="136">
                  <c:v>3.9611227291820206E-2</c:v>
                </c:pt>
                <c:pt idx="137">
                  <c:v>3.9742771425624504E-2</c:v>
                </c:pt>
                <c:pt idx="138">
                  <c:v>3.9872820739726485E-2</c:v>
                </c:pt>
                <c:pt idx="139">
                  <c:v>4.0216629271260455E-2</c:v>
                </c:pt>
                <c:pt idx="140">
                  <c:v>4.0617240951482642E-2</c:v>
                </c:pt>
                <c:pt idx="141">
                  <c:v>4.1478257100019886E-2</c:v>
                </c:pt>
                <c:pt idx="142">
                  <c:v>4.2623288991998236E-2</c:v>
                </c:pt>
                <c:pt idx="143">
                  <c:v>4.3062765984480791E-2</c:v>
                </c:pt>
                <c:pt idx="144">
                  <c:v>4.3376678121968326E-2</c:v>
                </c:pt>
                <c:pt idx="145">
                  <c:v>4.4110634595808232E-2</c:v>
                </c:pt>
                <c:pt idx="146">
                  <c:v>4.4913352775954936E-2</c:v>
                </c:pt>
                <c:pt idx="147">
                  <c:v>4.57205554152086E-2</c:v>
                </c:pt>
                <c:pt idx="148">
                  <c:v>4.6958266128730893E-2</c:v>
                </c:pt>
                <c:pt idx="149">
                  <c:v>4.8243811072727474E-2</c:v>
                </c:pt>
                <c:pt idx="150">
                  <c:v>4.8861171609786293E-2</c:v>
                </c:pt>
                <c:pt idx="151">
                  <c:v>4.9491985524166011E-2</c:v>
                </c:pt>
                <c:pt idx="152">
                  <c:v>5.0698305023939544E-2</c:v>
                </c:pt>
                <c:pt idx="153">
                  <c:v>5.6897322329467238E-2</c:v>
                </c:pt>
                <c:pt idx="154">
                  <c:v>6.3069432880353146E-2</c:v>
                </c:pt>
                <c:pt idx="155">
                  <c:v>6.9437364812243177E-2</c:v>
                </c:pt>
                <c:pt idx="156">
                  <c:v>7.6229825539592552E-2</c:v>
                </c:pt>
                <c:pt idx="157">
                  <c:v>8.2022251886088776E-2</c:v>
                </c:pt>
                <c:pt idx="158">
                  <c:v>8.7606898293962288E-2</c:v>
                </c:pt>
                <c:pt idx="159">
                  <c:v>9.368334038389961E-2</c:v>
                </c:pt>
                <c:pt idx="160">
                  <c:v>9.9593857486879239E-2</c:v>
                </c:pt>
                <c:pt idx="161">
                  <c:v>0.10561499124783066</c:v>
                </c:pt>
                <c:pt idx="162">
                  <c:v>0.111603238975331</c:v>
                </c:pt>
                <c:pt idx="163">
                  <c:v>0.11798312946483962</c:v>
                </c:pt>
                <c:pt idx="164">
                  <c:v>0.12341081980396937</c:v>
                </c:pt>
                <c:pt idx="165">
                  <c:v>0.12879366555202945</c:v>
                </c:pt>
                <c:pt idx="166">
                  <c:v>0.13479686147655304</c:v>
                </c:pt>
                <c:pt idx="167">
                  <c:v>0.14091814815756001</c:v>
                </c:pt>
                <c:pt idx="168">
                  <c:v>0.14710670172517146</c:v>
                </c:pt>
                <c:pt idx="169">
                  <c:v>0.15351947824813114</c:v>
                </c:pt>
                <c:pt idx="170">
                  <c:v>0.16014003470971352</c:v>
                </c:pt>
                <c:pt idx="171">
                  <c:v>0.16591302840007954</c:v>
                </c:pt>
                <c:pt idx="172">
                  <c:v>0.17152159192319022</c:v>
                </c:pt>
                <c:pt idx="173">
                  <c:v>0.17783272070639203</c:v>
                </c:pt>
                <c:pt idx="174">
                  <c:v>0.18408106706209634</c:v>
                </c:pt>
                <c:pt idx="175">
                  <c:v>0.19035482535274012</c:v>
                </c:pt>
                <c:pt idx="176">
                  <c:v>0.19661363544636068</c:v>
                </c:pt>
                <c:pt idx="177">
                  <c:v>0.20287543517938586</c:v>
                </c:pt>
                <c:pt idx="178">
                  <c:v>0.20909388514104374</c:v>
                </c:pt>
                <c:pt idx="179">
                  <c:v>0.21530785064359467</c:v>
                </c:pt>
                <c:pt idx="180">
                  <c:v>0.22154573326138272</c:v>
                </c:pt>
                <c:pt idx="181">
                  <c:v>0.22780304853530095</c:v>
                </c:pt>
                <c:pt idx="182">
                  <c:v>0.234046910431898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27A-4123-86A8-89323E6F14AF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7 30-34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E$5:$E$187</c:f>
              <c:numCache>
                <c:formatCode>0.00%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.3789470636011753E-6</c:v>
                </c:pt>
                <c:pt idx="18">
                  <c:v>9.7905241515683434E-5</c:v>
                </c:pt>
                <c:pt idx="19">
                  <c:v>3.3784203058228793E-4</c:v>
                </c:pt>
                <c:pt idx="20">
                  <c:v>5.9846302560291002E-4</c:v>
                </c:pt>
                <c:pt idx="21">
                  <c:v>8.7011559713234159E-4</c:v>
                </c:pt>
                <c:pt idx="22">
                  <c:v>1.0645471331001072E-3</c:v>
                </c:pt>
                <c:pt idx="23">
                  <c:v>1.1596944804885883E-3</c:v>
                </c:pt>
                <c:pt idx="24">
                  <c:v>1.2355365689866529E-3</c:v>
                </c:pt>
                <c:pt idx="25">
                  <c:v>1.3499891752655506E-3</c:v>
                </c:pt>
                <c:pt idx="26">
                  <c:v>1.6781785764026303E-3</c:v>
                </c:pt>
                <c:pt idx="27">
                  <c:v>2.1663258369174461E-3</c:v>
                </c:pt>
                <c:pt idx="28">
                  <c:v>2.6434415209234527E-3</c:v>
                </c:pt>
                <c:pt idx="29">
                  <c:v>3.2446624406535654E-3</c:v>
                </c:pt>
                <c:pt idx="30">
                  <c:v>4.0058412197614144E-3</c:v>
                </c:pt>
                <c:pt idx="31">
                  <c:v>4.0885780435774843E-3</c:v>
                </c:pt>
                <c:pt idx="32">
                  <c:v>4.1988938086655785E-3</c:v>
                </c:pt>
                <c:pt idx="33">
                  <c:v>4.9242199641197967E-3</c:v>
                </c:pt>
                <c:pt idx="34">
                  <c:v>5.7957145083157397E-3</c:v>
                </c:pt>
                <c:pt idx="35">
                  <c:v>6.7030616761653127E-3</c:v>
                </c:pt>
                <c:pt idx="36">
                  <c:v>7.7358930268025929E-3</c:v>
                </c:pt>
                <c:pt idx="37">
                  <c:v>8.5246507471824651E-3</c:v>
                </c:pt>
                <c:pt idx="38">
                  <c:v>8.6501349299701723E-3</c:v>
                </c:pt>
                <c:pt idx="39">
                  <c:v>8.7535559597402609E-3</c:v>
                </c:pt>
                <c:pt idx="40">
                  <c:v>9.4278610738412344E-3</c:v>
                </c:pt>
                <c:pt idx="41">
                  <c:v>1.0060797776034174E-2</c:v>
                </c:pt>
                <c:pt idx="42">
                  <c:v>1.0557218718930598E-2</c:v>
                </c:pt>
                <c:pt idx="43">
                  <c:v>1.1107418597307466E-2</c:v>
                </c:pt>
                <c:pt idx="44">
                  <c:v>1.1614871116712699E-2</c:v>
                </c:pt>
                <c:pt idx="45">
                  <c:v>1.1674165840447549E-2</c:v>
                </c:pt>
                <c:pt idx="46">
                  <c:v>1.1690713205210763E-2</c:v>
                </c:pt>
                <c:pt idx="47">
                  <c:v>1.2031313129920253E-2</c:v>
                </c:pt>
                <c:pt idx="48">
                  <c:v>1.2282281495495668E-2</c:v>
                </c:pt>
                <c:pt idx="49">
                  <c:v>1.2530491966943879E-2</c:v>
                </c:pt>
                <c:pt idx="50">
                  <c:v>1.2809039273791316E-2</c:v>
                </c:pt>
                <c:pt idx="51">
                  <c:v>1.3008986598013486E-2</c:v>
                </c:pt>
                <c:pt idx="52">
                  <c:v>1.3018639227458694E-2</c:v>
                </c:pt>
                <c:pt idx="53">
                  <c:v>1.3022776068649499E-2</c:v>
                </c:pt>
                <c:pt idx="54">
                  <c:v>1.3233754969380479E-2</c:v>
                </c:pt>
                <c:pt idx="55">
                  <c:v>1.3411639140585029E-2</c:v>
                </c:pt>
                <c:pt idx="56">
                  <c:v>1.3568839105835563E-2</c:v>
                </c:pt>
                <c:pt idx="57">
                  <c:v>1.3748102224103716E-2</c:v>
                </c:pt>
                <c:pt idx="58">
                  <c:v>1.3934260077689876E-2</c:v>
                </c:pt>
                <c:pt idx="59">
                  <c:v>1.3943912707135084E-2</c:v>
                </c:pt>
                <c:pt idx="60">
                  <c:v>1.3949428495389488E-2</c:v>
                </c:pt>
                <c:pt idx="61">
                  <c:v>1.4083186360558803E-2</c:v>
                </c:pt>
                <c:pt idx="62">
                  <c:v>1.4193502125646896E-2</c:v>
                </c:pt>
                <c:pt idx="63">
                  <c:v>1.4367249455660645E-2</c:v>
                </c:pt>
                <c:pt idx="64">
                  <c:v>1.4473428379557935E-2</c:v>
                </c:pt>
                <c:pt idx="65">
                  <c:v>1.4637523080126474E-2</c:v>
                </c:pt>
                <c:pt idx="66">
                  <c:v>1.4641659921317279E-2</c:v>
                </c:pt>
                <c:pt idx="67">
                  <c:v>1.4645796762508082E-2</c:v>
                </c:pt>
                <c:pt idx="68">
                  <c:v>1.480851251601302E-2</c:v>
                </c:pt>
                <c:pt idx="69">
                  <c:v>1.4997428263726381E-2</c:v>
                </c:pt>
                <c:pt idx="70">
                  <c:v>1.5270459782319414E-2</c:v>
                </c:pt>
                <c:pt idx="71">
                  <c:v>1.5564175506866465E-2</c:v>
                </c:pt>
                <c:pt idx="72">
                  <c:v>1.5877196490303933E-2</c:v>
                </c:pt>
                <c:pt idx="73">
                  <c:v>1.5890985960939942E-2</c:v>
                </c:pt>
                <c:pt idx="74">
                  <c:v>1.5930975425784377E-2</c:v>
                </c:pt>
                <c:pt idx="75">
                  <c:v>1.6268817456366665E-2</c:v>
                </c:pt>
                <c:pt idx="76">
                  <c:v>1.6614933169330558E-2</c:v>
                </c:pt>
                <c:pt idx="77">
                  <c:v>1.7018964658965706E-2</c:v>
                </c:pt>
                <c:pt idx="78">
                  <c:v>1.7432648778046057E-2</c:v>
                </c:pt>
                <c:pt idx="79">
                  <c:v>1.786012236776242E-2</c:v>
                </c:pt>
                <c:pt idx="80">
                  <c:v>1.7915280250306469E-2</c:v>
                </c:pt>
                <c:pt idx="81">
                  <c:v>1.7967680238723312E-2</c:v>
                </c:pt>
                <c:pt idx="82">
                  <c:v>1.8414459087330092E-2</c:v>
                </c:pt>
                <c:pt idx="83">
                  <c:v>1.8822627418156043E-2</c:v>
                </c:pt>
                <c:pt idx="84">
                  <c:v>1.9325943096370469E-2</c:v>
                </c:pt>
                <c:pt idx="85">
                  <c:v>1.9752037739023235E-2</c:v>
                </c:pt>
                <c:pt idx="86">
                  <c:v>2.0351879711689745E-2</c:v>
                </c:pt>
                <c:pt idx="87">
                  <c:v>2.0451163900269031E-2</c:v>
                </c:pt>
                <c:pt idx="88">
                  <c:v>2.0542174406466707E-2</c:v>
                </c:pt>
                <c:pt idx="89">
                  <c:v>2.1165458479214437E-2</c:v>
                </c:pt>
                <c:pt idx="90">
                  <c:v>2.1857689905142228E-2</c:v>
                </c:pt>
                <c:pt idx="91">
                  <c:v>2.2629900260758885E-2</c:v>
                </c:pt>
                <c:pt idx="92">
                  <c:v>2.3551036899244471E-2</c:v>
                </c:pt>
                <c:pt idx="93">
                  <c:v>2.3828205259028307E-2</c:v>
                </c:pt>
                <c:pt idx="94">
                  <c:v>2.4090205201112529E-2</c:v>
                </c:pt>
                <c:pt idx="95">
                  <c:v>2.4288773578271101E-2</c:v>
                </c:pt>
                <c:pt idx="96">
                  <c:v>2.4480447220111664E-2</c:v>
                </c:pt>
                <c:pt idx="97">
                  <c:v>2.5442952270505283E-2</c:v>
                </c:pt>
                <c:pt idx="98">
                  <c:v>2.6042794243171796E-2</c:v>
                </c:pt>
                <c:pt idx="99">
                  <c:v>2.6813625651724852E-2</c:v>
                </c:pt>
                <c:pt idx="100">
                  <c:v>2.7682362301793592E-2</c:v>
                </c:pt>
                <c:pt idx="101">
                  <c:v>2.8007793808803468E-2</c:v>
                </c:pt>
                <c:pt idx="102">
                  <c:v>2.8216014815407246E-2</c:v>
                </c:pt>
                <c:pt idx="103">
                  <c:v>2.8781383111483729E-2</c:v>
                </c:pt>
                <c:pt idx="104">
                  <c:v>2.9519119790510358E-2</c:v>
                </c:pt>
                <c:pt idx="105">
                  <c:v>3.0165845963339308E-2</c:v>
                </c:pt>
                <c:pt idx="106">
                  <c:v>3.0783614247832634E-2</c:v>
                </c:pt>
                <c:pt idx="107">
                  <c:v>3.1616498274247742E-2</c:v>
                </c:pt>
                <c:pt idx="108">
                  <c:v>3.1932277151812412E-2</c:v>
                </c:pt>
                <c:pt idx="109">
                  <c:v>3.2090856064126552E-2</c:v>
                </c:pt>
                <c:pt idx="110">
                  <c:v>3.2470066506616872E-2</c:v>
                </c:pt>
                <c:pt idx="111">
                  <c:v>3.2887887466888026E-2</c:v>
                </c:pt>
                <c:pt idx="112">
                  <c:v>3.3403613668674871E-2</c:v>
                </c:pt>
                <c:pt idx="113">
                  <c:v>3.4065508259203431E-2</c:v>
                </c:pt>
                <c:pt idx="114">
                  <c:v>3.469706601433277E-2</c:v>
                </c:pt>
                <c:pt idx="115">
                  <c:v>3.4877708079664525E-2</c:v>
                </c:pt>
                <c:pt idx="116">
                  <c:v>3.5011465944833835E-2</c:v>
                </c:pt>
                <c:pt idx="117">
                  <c:v>3.5259676416282047E-2</c:v>
                </c:pt>
                <c:pt idx="118">
                  <c:v>3.5611307917500348E-2</c:v>
                </c:pt>
                <c:pt idx="119">
                  <c:v>3.6091181495633555E-2</c:v>
                </c:pt>
                <c:pt idx="120">
                  <c:v>3.6732391880208104E-2</c:v>
                </c:pt>
                <c:pt idx="121">
                  <c:v>3.7165381258178871E-2</c:v>
                </c:pt>
                <c:pt idx="122">
                  <c:v>3.724536018786774E-2</c:v>
                </c:pt>
                <c:pt idx="123">
                  <c:v>3.7308791752793398E-2</c:v>
                </c:pt>
                <c:pt idx="124">
                  <c:v>3.74273812002631E-2</c:v>
                </c:pt>
                <c:pt idx="125">
                  <c:v>3.7621812736230865E-2</c:v>
                </c:pt>
                <c:pt idx="126">
                  <c:v>3.7850717948788658E-2</c:v>
                </c:pt>
                <c:pt idx="127">
                  <c:v>3.8063075796583239E-2</c:v>
                </c:pt>
                <c:pt idx="128">
                  <c:v>3.840091782716553E-2</c:v>
                </c:pt>
                <c:pt idx="129">
                  <c:v>3.8443665186137163E-2</c:v>
                </c:pt>
                <c:pt idx="130">
                  <c:v>3.8485033598045199E-2</c:v>
                </c:pt>
                <c:pt idx="131">
                  <c:v>3.865464408686814E-2</c:v>
                </c:pt>
                <c:pt idx="132">
                  <c:v>3.9275170265488671E-2</c:v>
                </c:pt>
                <c:pt idx="133">
                  <c:v>3.9952233273716851E-2</c:v>
                </c:pt>
                <c:pt idx="134">
                  <c:v>4.0761675200050737E-2</c:v>
                </c:pt>
                <c:pt idx="135">
                  <c:v>4.1076075130551809E-2</c:v>
                </c:pt>
                <c:pt idx="136">
                  <c:v>4.1313254025491207E-2</c:v>
                </c:pt>
                <c:pt idx="137">
                  <c:v>4.1455285573042129E-2</c:v>
                </c:pt>
                <c:pt idx="138">
                  <c:v>4.1609727644165463E-2</c:v>
                </c:pt>
                <c:pt idx="139">
                  <c:v>4.2013759133800607E-2</c:v>
                </c:pt>
                <c:pt idx="140">
                  <c:v>4.2563959012177473E-2</c:v>
                </c:pt>
                <c:pt idx="141">
                  <c:v>4.3534737744952701E-2</c:v>
                </c:pt>
                <c:pt idx="142">
                  <c:v>4.4961947955779916E-2</c:v>
                </c:pt>
                <c:pt idx="143">
                  <c:v>4.5410105751450297E-2</c:v>
                </c:pt>
                <c:pt idx="144">
                  <c:v>4.5738295152587378E-2</c:v>
                </c:pt>
                <c:pt idx="145">
                  <c:v>4.6609789696783324E-2</c:v>
                </c:pt>
                <c:pt idx="146">
                  <c:v>4.7584705270749351E-2</c:v>
                </c:pt>
                <c:pt idx="147">
                  <c:v>4.8562378738842588E-2</c:v>
                </c:pt>
                <c:pt idx="148">
                  <c:v>5.0040609991023048E-2</c:v>
                </c:pt>
                <c:pt idx="149">
                  <c:v>5.1567104390429545E-2</c:v>
                </c:pt>
                <c:pt idx="150">
                  <c:v>5.2260714763420937E-2</c:v>
                </c:pt>
                <c:pt idx="151">
                  <c:v>5.288813567735947E-2</c:v>
                </c:pt>
                <c:pt idx="152">
                  <c:v>5.4311209046995886E-2</c:v>
                </c:pt>
                <c:pt idx="153">
                  <c:v>6.0655744486624891E-2</c:v>
                </c:pt>
                <c:pt idx="154">
                  <c:v>6.714506936793202E-2</c:v>
                </c:pt>
                <c:pt idx="155">
                  <c:v>7.3655078455193174E-2</c:v>
                </c:pt>
                <c:pt idx="156">
                  <c:v>8.0760792673930021E-2</c:v>
                </c:pt>
                <c:pt idx="157">
                  <c:v>8.6513759823274125E-2</c:v>
                </c:pt>
                <c:pt idx="158">
                  <c:v>9.219640067237457E-2</c:v>
                </c:pt>
                <c:pt idx="159">
                  <c:v>9.8398904564452661E-2</c:v>
                </c:pt>
                <c:pt idx="160">
                  <c:v>0.10447316637961583</c:v>
                </c:pt>
                <c:pt idx="161">
                  <c:v>0.11067015448343952</c:v>
                </c:pt>
                <c:pt idx="162">
                  <c:v>0.11690437415798043</c:v>
                </c:pt>
                <c:pt idx="163">
                  <c:v>0.12353021479858407</c:v>
                </c:pt>
                <c:pt idx="164">
                  <c:v>0.12900049779988995</c:v>
                </c:pt>
                <c:pt idx="165">
                  <c:v>0.13445837027762339</c:v>
                </c:pt>
                <c:pt idx="166">
                  <c:v>0.14078497940542559</c:v>
                </c:pt>
                <c:pt idx="167">
                  <c:v>0.14713089379211819</c:v>
                </c:pt>
                <c:pt idx="168">
                  <c:v>0.15366296603239696</c:v>
                </c:pt>
                <c:pt idx="169">
                  <c:v>0.16042808032642433</c:v>
                </c:pt>
                <c:pt idx="170">
                  <c:v>0.16747036298023552</c:v>
                </c:pt>
                <c:pt idx="171">
                  <c:v>0.17340673008903859</c:v>
                </c:pt>
                <c:pt idx="172">
                  <c:v>0.17914314987361948</c:v>
                </c:pt>
                <c:pt idx="173">
                  <c:v>0.18570555894929747</c:v>
                </c:pt>
                <c:pt idx="174">
                  <c:v>0.19227762065442067</c:v>
                </c:pt>
                <c:pt idx="175">
                  <c:v>0.19887174551256148</c:v>
                </c:pt>
                <c:pt idx="176">
                  <c:v>0.20547965984133831</c:v>
                </c:pt>
                <c:pt idx="177">
                  <c:v>0.21205310049352513</c:v>
                </c:pt>
                <c:pt idx="178">
                  <c:v>0.21857276221023147</c:v>
                </c:pt>
                <c:pt idx="179">
                  <c:v>0.22509104497987423</c:v>
                </c:pt>
                <c:pt idx="180">
                  <c:v>0.23166586457912464</c:v>
                </c:pt>
                <c:pt idx="181">
                  <c:v>0.23824068417837505</c:v>
                </c:pt>
                <c:pt idx="182">
                  <c:v>0.244809987989371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27A-4123-86A8-89323E6F14AF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8 35-39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F$5:$F$187</c:f>
              <c:numCache>
                <c:formatCode>0.00%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6.6075796562787851E-5</c:v>
                </c:pt>
                <c:pt idx="19">
                  <c:v>2.8463420057816305E-4</c:v>
                </c:pt>
                <c:pt idx="20">
                  <c:v>5.6037358238825846E-4</c:v>
                </c:pt>
                <c:pt idx="21">
                  <c:v>8.7677499285237722E-4</c:v>
                </c:pt>
                <c:pt idx="22">
                  <c:v>1.0724610057498644E-3</c:v>
                </c:pt>
                <c:pt idx="23">
                  <c:v>1.2173194828298223E-3</c:v>
                </c:pt>
                <c:pt idx="24">
                  <c:v>1.3240573080466336E-3</c:v>
                </c:pt>
                <c:pt idx="25">
                  <c:v>1.421900314495377E-3</c:v>
                </c:pt>
                <c:pt idx="26">
                  <c:v>1.7980240795450926E-3</c:v>
                </c:pt>
                <c:pt idx="27">
                  <c:v>2.313923568093013E-3</c:v>
                </c:pt>
                <c:pt idx="28">
                  <c:v>2.8717557736903949E-3</c:v>
                </c:pt>
                <c:pt idx="29">
                  <c:v>3.6570412020712198E-3</c:v>
                </c:pt>
                <c:pt idx="30">
                  <c:v>4.5147558689920238E-3</c:v>
                </c:pt>
                <c:pt idx="31">
                  <c:v>4.6087868102544522E-3</c:v>
                </c:pt>
                <c:pt idx="32">
                  <c:v>4.7460211569617808E-3</c:v>
                </c:pt>
                <c:pt idx="33">
                  <c:v>5.6240668382095968E-3</c:v>
                </c:pt>
                <c:pt idx="34">
                  <c:v>6.7981829155945193E-3</c:v>
                </c:pt>
                <c:pt idx="35">
                  <c:v>7.9989834492836445E-3</c:v>
                </c:pt>
                <c:pt idx="36">
                  <c:v>9.3192286921439643E-3</c:v>
                </c:pt>
                <c:pt idx="37">
                  <c:v>1.0351027669239805E-2</c:v>
                </c:pt>
                <c:pt idx="38">
                  <c:v>1.0489532704342571E-2</c:v>
                </c:pt>
                <c:pt idx="39">
                  <c:v>1.0594999841163945E-2</c:v>
                </c:pt>
                <c:pt idx="40">
                  <c:v>1.1473045522411759E-2</c:v>
                </c:pt>
                <c:pt idx="41">
                  <c:v>1.2211315480161369E-2</c:v>
                </c:pt>
                <c:pt idx="42">
                  <c:v>1.2941961307538351E-2</c:v>
                </c:pt>
                <c:pt idx="43">
                  <c:v>1.3752660503827941E-2</c:v>
                </c:pt>
                <c:pt idx="44">
                  <c:v>1.4409606404269505E-2</c:v>
                </c:pt>
                <c:pt idx="45">
                  <c:v>1.4475682200832292E-2</c:v>
                </c:pt>
                <c:pt idx="46">
                  <c:v>1.4497283903554743E-2</c:v>
                </c:pt>
                <c:pt idx="47">
                  <c:v>1.4953461037517065E-2</c:v>
                </c:pt>
                <c:pt idx="48">
                  <c:v>1.5327043425775904E-2</c:v>
                </c:pt>
                <c:pt idx="49">
                  <c:v>1.5666317227357913E-2</c:v>
                </c:pt>
                <c:pt idx="50">
                  <c:v>1.6060230629943762E-2</c:v>
                </c:pt>
                <c:pt idx="51">
                  <c:v>1.6344864830521926E-2</c:v>
                </c:pt>
                <c:pt idx="52">
                  <c:v>1.6363925156453497E-2</c:v>
                </c:pt>
                <c:pt idx="53">
                  <c:v>1.6376632040407881E-2</c:v>
                </c:pt>
                <c:pt idx="54">
                  <c:v>1.6573588741700805E-2</c:v>
                </c:pt>
                <c:pt idx="55">
                  <c:v>1.679977127608881E-2</c:v>
                </c:pt>
                <c:pt idx="56">
                  <c:v>1.6997998665777173E-2</c:v>
                </c:pt>
                <c:pt idx="57">
                  <c:v>1.7241970837701313E-2</c:v>
                </c:pt>
                <c:pt idx="58">
                  <c:v>1.745290511134406E-2</c:v>
                </c:pt>
                <c:pt idx="59">
                  <c:v>1.7459258553321252E-2</c:v>
                </c:pt>
                <c:pt idx="60">
                  <c:v>1.7464341306903004E-2</c:v>
                </c:pt>
                <c:pt idx="61">
                  <c:v>1.7606658407192086E-2</c:v>
                </c:pt>
                <c:pt idx="62">
                  <c:v>1.7766765145017304E-2</c:v>
                </c:pt>
                <c:pt idx="63">
                  <c:v>1.7966263223101103E-2</c:v>
                </c:pt>
                <c:pt idx="64">
                  <c:v>1.8172114743162097E-2</c:v>
                </c:pt>
                <c:pt idx="65">
                  <c:v>1.8358905937291517E-2</c:v>
                </c:pt>
                <c:pt idx="66">
                  <c:v>1.8365259379268709E-2</c:v>
                </c:pt>
                <c:pt idx="67">
                  <c:v>1.83716128212459E-2</c:v>
                </c:pt>
                <c:pt idx="68">
                  <c:v>1.8534260935861992E-2</c:v>
                </c:pt>
                <c:pt idx="69">
                  <c:v>1.8756631405063683E-2</c:v>
                </c:pt>
                <c:pt idx="70">
                  <c:v>1.9076844880714115E-2</c:v>
                </c:pt>
                <c:pt idx="71">
                  <c:v>1.9421201435877875E-2</c:v>
                </c:pt>
                <c:pt idx="72">
                  <c:v>1.9784618316973208E-2</c:v>
                </c:pt>
                <c:pt idx="73">
                  <c:v>1.981130277327741E-2</c:v>
                </c:pt>
                <c:pt idx="74">
                  <c:v>1.9851964801931434E-2</c:v>
                </c:pt>
                <c:pt idx="75">
                  <c:v>2.0170907589186431E-2</c:v>
                </c:pt>
                <c:pt idx="76">
                  <c:v>2.05355951586772E-2</c:v>
                </c:pt>
                <c:pt idx="77">
                  <c:v>2.0972711966707951E-2</c:v>
                </c:pt>
                <c:pt idx="78">
                  <c:v>2.1502589027605691E-2</c:v>
                </c:pt>
                <c:pt idx="79">
                  <c:v>2.2037548842085187E-2</c:v>
                </c:pt>
                <c:pt idx="80">
                  <c:v>2.2084564312716402E-2</c:v>
                </c:pt>
                <c:pt idx="81">
                  <c:v>2.2111248769020604E-2</c:v>
                </c:pt>
                <c:pt idx="82">
                  <c:v>2.2655103402268166E-2</c:v>
                </c:pt>
                <c:pt idx="83">
                  <c:v>2.3163378760443457E-2</c:v>
                </c:pt>
                <c:pt idx="84">
                  <c:v>2.3718669589249963E-2</c:v>
                </c:pt>
                <c:pt idx="85">
                  <c:v>2.4331141395851189E-2</c:v>
                </c:pt>
                <c:pt idx="86">
                  <c:v>2.5050351027669227E-2</c:v>
                </c:pt>
                <c:pt idx="87">
                  <c:v>2.5177419867213047E-2</c:v>
                </c:pt>
                <c:pt idx="88">
                  <c:v>2.5294323199593363E-2</c:v>
                </c:pt>
                <c:pt idx="89">
                  <c:v>2.6118999968232776E-2</c:v>
                </c:pt>
                <c:pt idx="90">
                  <c:v>2.6985609453921647E-2</c:v>
                </c:pt>
                <c:pt idx="91">
                  <c:v>2.8061882524857824E-2</c:v>
                </c:pt>
                <c:pt idx="92">
                  <c:v>2.9307157152387287E-2</c:v>
                </c:pt>
                <c:pt idx="93">
                  <c:v>2.9707423996950331E-2</c:v>
                </c:pt>
                <c:pt idx="94">
                  <c:v>3.0060675370882157E-2</c:v>
                </c:pt>
                <c:pt idx="95">
                  <c:v>3.0374535404555401E-2</c:v>
                </c:pt>
                <c:pt idx="96">
                  <c:v>3.0631214460433921E-2</c:v>
                </c:pt>
                <c:pt idx="97">
                  <c:v>3.180660122621428E-2</c:v>
                </c:pt>
                <c:pt idx="98">
                  <c:v>3.2656691762762459E-2</c:v>
                </c:pt>
                <c:pt idx="99">
                  <c:v>3.3730423456907757E-2</c:v>
                </c:pt>
                <c:pt idx="100">
                  <c:v>3.4879125766383919E-2</c:v>
                </c:pt>
                <c:pt idx="101">
                  <c:v>3.5396295943327279E-2</c:v>
                </c:pt>
                <c:pt idx="102">
                  <c:v>3.566822325995106E-2</c:v>
                </c:pt>
                <c:pt idx="103">
                  <c:v>3.6339146732742439E-2</c:v>
                </c:pt>
                <c:pt idx="104">
                  <c:v>3.7255313065853404E-2</c:v>
                </c:pt>
                <c:pt idx="105">
                  <c:v>3.8058388131770364E-2</c:v>
                </c:pt>
                <c:pt idx="106">
                  <c:v>3.8843673560151191E-2</c:v>
                </c:pt>
                <c:pt idx="107">
                  <c:v>4.0087677499285213E-2</c:v>
                </c:pt>
                <c:pt idx="108">
                  <c:v>4.0477778836684748E-2</c:v>
                </c:pt>
                <c:pt idx="109">
                  <c:v>4.0709044124654509E-2</c:v>
                </c:pt>
                <c:pt idx="110">
                  <c:v>4.1171574700594023E-2</c:v>
                </c:pt>
                <c:pt idx="111">
                  <c:v>4.1678579370373878E-2</c:v>
                </c:pt>
                <c:pt idx="112">
                  <c:v>4.2200832300898987E-2</c:v>
                </c:pt>
                <c:pt idx="113">
                  <c:v>4.2911147113948958E-2</c:v>
                </c:pt>
                <c:pt idx="114">
                  <c:v>4.3707868737888726E-2</c:v>
                </c:pt>
                <c:pt idx="115">
                  <c:v>4.3926427141904104E-2</c:v>
                </c:pt>
                <c:pt idx="116">
                  <c:v>4.4076368372565809E-2</c:v>
                </c:pt>
                <c:pt idx="117">
                  <c:v>4.4387687029448175E-2</c:v>
                </c:pt>
                <c:pt idx="118">
                  <c:v>4.4862924489342072E-2</c:v>
                </c:pt>
                <c:pt idx="119">
                  <c:v>4.5452523904825411E-2</c:v>
                </c:pt>
                <c:pt idx="120">
                  <c:v>4.6350900600400237E-2</c:v>
                </c:pt>
                <c:pt idx="121">
                  <c:v>4.6888401791670607E-2</c:v>
                </c:pt>
                <c:pt idx="122">
                  <c:v>4.7010387877632683E-2</c:v>
                </c:pt>
                <c:pt idx="123">
                  <c:v>4.708789986975441E-2</c:v>
                </c:pt>
                <c:pt idx="124">
                  <c:v>4.729883414339716E-2</c:v>
                </c:pt>
                <c:pt idx="125">
                  <c:v>4.7525016677785165E-2</c:v>
                </c:pt>
                <c:pt idx="126">
                  <c:v>4.7807109501572451E-2</c:v>
                </c:pt>
                <c:pt idx="127">
                  <c:v>4.8123510912036566E-2</c:v>
                </c:pt>
                <c:pt idx="128">
                  <c:v>4.8497093300295405E-2</c:v>
                </c:pt>
                <c:pt idx="129">
                  <c:v>4.8550462212903815E-2</c:v>
                </c:pt>
                <c:pt idx="130">
                  <c:v>4.8617808697862037E-2</c:v>
                </c:pt>
                <c:pt idx="131">
                  <c:v>4.886686362336793E-2</c:v>
                </c:pt>
                <c:pt idx="132">
                  <c:v>4.9625464595444556E-2</c:v>
                </c:pt>
                <c:pt idx="133">
                  <c:v>5.0389148321102931E-2</c:v>
                </c:pt>
                <c:pt idx="134">
                  <c:v>5.1398074907080878E-2</c:v>
                </c:pt>
                <c:pt idx="135">
                  <c:v>5.1789446932875856E-2</c:v>
                </c:pt>
                <c:pt idx="136">
                  <c:v>5.2113472473712605E-2</c:v>
                </c:pt>
                <c:pt idx="137">
                  <c:v>5.2285015407096763E-2</c:v>
                </c:pt>
                <c:pt idx="138">
                  <c:v>5.2487054861971444E-2</c:v>
                </c:pt>
                <c:pt idx="139">
                  <c:v>5.2969916452237968E-2</c:v>
                </c:pt>
                <c:pt idx="140">
                  <c:v>5.3577305505257439E-2</c:v>
                </c:pt>
                <c:pt idx="141">
                  <c:v>5.4891197306140567E-2</c:v>
                </c:pt>
                <c:pt idx="142">
                  <c:v>5.6443978525366083E-2</c:v>
                </c:pt>
                <c:pt idx="143">
                  <c:v>5.7089488230248703E-2</c:v>
                </c:pt>
                <c:pt idx="144">
                  <c:v>5.750627402395244E-2</c:v>
                </c:pt>
                <c:pt idx="145">
                  <c:v>5.8770608977413479E-2</c:v>
                </c:pt>
                <c:pt idx="146">
                  <c:v>6.0006988786174872E-2</c:v>
                </c:pt>
                <c:pt idx="147">
                  <c:v>6.1248451348518022E-2</c:v>
                </c:pt>
                <c:pt idx="148">
                  <c:v>6.303503923250417E-2</c:v>
                </c:pt>
                <c:pt idx="149">
                  <c:v>6.5260014612916514E-2</c:v>
                </c:pt>
                <c:pt idx="150">
                  <c:v>6.6341370437434447E-2</c:v>
                </c:pt>
                <c:pt idx="151">
                  <c:v>6.7260078147336283E-2</c:v>
                </c:pt>
                <c:pt idx="152">
                  <c:v>6.9288096826455689E-2</c:v>
                </c:pt>
                <c:pt idx="153">
                  <c:v>7.6206995139616845E-2</c:v>
                </c:pt>
                <c:pt idx="154">
                  <c:v>8.3223736459226733E-2</c:v>
                </c:pt>
                <c:pt idx="155">
                  <c:v>9.0209981257346111E-2</c:v>
                </c:pt>
                <c:pt idx="156">
                  <c:v>9.7818863369230222E-2</c:v>
                </c:pt>
                <c:pt idx="157">
                  <c:v>0.10367546618380502</c:v>
                </c:pt>
                <c:pt idx="158">
                  <c:v>0.10943803805711738</c:v>
                </c:pt>
                <c:pt idx="159">
                  <c:v>0.11598462467041513</c:v>
                </c:pt>
                <c:pt idx="160">
                  <c:v>0.12226817878585716</c:v>
                </c:pt>
                <c:pt idx="161">
                  <c:v>0.12865847072651601</c:v>
                </c:pt>
                <c:pt idx="162">
                  <c:v>0.13517583150671869</c:v>
                </c:pt>
                <c:pt idx="163">
                  <c:v>0.14217605387718787</c:v>
                </c:pt>
                <c:pt idx="164">
                  <c:v>0.14777597763588415</c:v>
                </c:pt>
                <c:pt idx="165">
                  <c:v>0.15329584802566781</c:v>
                </c:pt>
                <c:pt idx="166">
                  <c:v>0.1599034276819466</c:v>
                </c:pt>
                <c:pt idx="167">
                  <c:v>0.16663045204739657</c:v>
                </c:pt>
                <c:pt idx="168">
                  <c:v>0.1735023348899265</c:v>
                </c:pt>
                <c:pt idx="169">
                  <c:v>0.1807211156644111</c:v>
                </c:pt>
                <c:pt idx="170">
                  <c:v>0.18817878585723805</c:v>
                </c:pt>
                <c:pt idx="171">
                  <c:v>0.19424124019187383</c:v>
                </c:pt>
                <c:pt idx="172">
                  <c:v>0.20000762413037251</c:v>
                </c:pt>
                <c:pt idx="173">
                  <c:v>0.20697734997935119</c:v>
                </c:pt>
                <c:pt idx="174">
                  <c:v>0.21391022586486216</c:v>
                </c:pt>
                <c:pt idx="175">
                  <c:v>0.22083801899679137</c:v>
                </c:pt>
                <c:pt idx="176">
                  <c:v>0.2277861431430476</c:v>
                </c:pt>
                <c:pt idx="177">
                  <c:v>0.23471393627497683</c:v>
                </c:pt>
                <c:pt idx="178">
                  <c:v>0.24156421741478432</c:v>
                </c:pt>
                <c:pt idx="179">
                  <c:v>0.24840814511261461</c:v>
                </c:pt>
                <c:pt idx="180">
                  <c:v>0.25531306585342595</c:v>
                </c:pt>
                <c:pt idx="181">
                  <c:v>0.26223831760856431</c:v>
                </c:pt>
                <c:pt idx="182">
                  <c:v>0.269152133168143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27A-4123-86A8-89323E6F14AF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9 40-44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G$5:$G$187</c:f>
              <c:numCache>
                <c:formatCode>0.00%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9.4943156785288706E-5</c:v>
                </c:pt>
                <c:pt idx="19">
                  <c:v>3.4670253882268347E-4</c:v>
                </c:pt>
                <c:pt idx="20">
                  <c:v>6.9767218581549232E-4</c:v>
                </c:pt>
                <c:pt idx="21">
                  <c:v>1.0753112588715843E-3</c:v>
                </c:pt>
                <c:pt idx="22">
                  <c:v>1.3228035327388539E-3</c:v>
                </c:pt>
                <c:pt idx="23">
                  <c:v>1.482820089118554E-3</c:v>
                </c:pt>
                <c:pt idx="24">
                  <c:v>1.6300353209878779E-3</c:v>
                </c:pt>
                <c:pt idx="25">
                  <c:v>1.7697831135594828E-3</c:v>
                </c:pt>
                <c:pt idx="26">
                  <c:v>2.2551666679112396E-3</c:v>
                </c:pt>
                <c:pt idx="27">
                  <c:v>2.882431568919664E-3</c:v>
                </c:pt>
                <c:pt idx="28">
                  <c:v>3.5822373088202188E-3</c:v>
                </c:pt>
                <c:pt idx="29">
                  <c:v>4.4292582805900982E-3</c:v>
                </c:pt>
                <c:pt idx="30">
                  <c:v>5.5205711950996519E-3</c:v>
                </c:pt>
                <c:pt idx="31">
                  <c:v>5.6475176631608807E-3</c:v>
                </c:pt>
                <c:pt idx="32">
                  <c:v>5.7840651246048921E-3</c:v>
                </c:pt>
                <c:pt idx="33">
                  <c:v>6.9308504453260752E-3</c:v>
                </c:pt>
                <c:pt idx="34">
                  <c:v>8.2568543091925233E-3</c:v>
                </c:pt>
                <c:pt idx="35">
                  <c:v>9.626596031802756E-3</c:v>
                </c:pt>
                <c:pt idx="36">
                  <c:v>1.1145686540367376E-2</c:v>
                </c:pt>
                <c:pt idx="37">
                  <c:v>1.2393815680129035E-2</c:v>
                </c:pt>
                <c:pt idx="38">
                  <c:v>1.2559166121721392E-2</c:v>
                </c:pt>
                <c:pt idx="39">
                  <c:v>1.2683979035697559E-2</c:v>
                </c:pt>
                <c:pt idx="40">
                  <c:v>1.3787026497674958E-2</c:v>
                </c:pt>
                <c:pt idx="41">
                  <c:v>1.4760993937506066E-2</c:v>
                </c:pt>
                <c:pt idx="42">
                  <c:v>1.5629350450126572E-2</c:v>
                </c:pt>
                <c:pt idx="43">
                  <c:v>1.6638521532361214E-2</c:v>
                </c:pt>
                <c:pt idx="44">
                  <c:v>1.7549549126682971E-2</c:v>
                </c:pt>
                <c:pt idx="45">
                  <c:v>1.7657293607978637E-2</c:v>
                </c:pt>
                <c:pt idx="46">
                  <c:v>1.7679695925871795E-2</c:v>
                </c:pt>
                <c:pt idx="47">
                  <c:v>1.8230152879817964E-2</c:v>
                </c:pt>
                <c:pt idx="48">
                  <c:v>1.8694200893319093E-2</c:v>
                </c:pt>
                <c:pt idx="49">
                  <c:v>1.9097442615395938E-2</c:v>
                </c:pt>
                <c:pt idx="50">
                  <c:v>1.9562557405939599E-2</c:v>
                </c:pt>
                <c:pt idx="51">
                  <c:v>1.98996589513795E-2</c:v>
                </c:pt>
                <c:pt idx="52">
                  <c:v>1.990712639067722E-2</c:v>
                </c:pt>
                <c:pt idx="53">
                  <c:v>1.9914593829974937E-2</c:v>
                </c:pt>
                <c:pt idx="54">
                  <c:v>2.0149284779331832E-2</c:v>
                </c:pt>
                <c:pt idx="55">
                  <c:v>2.0455449790538326E-2</c:v>
                </c:pt>
                <c:pt idx="56">
                  <c:v>2.0741346037936724E-2</c:v>
                </c:pt>
                <c:pt idx="57">
                  <c:v>2.0978170541378679E-2</c:v>
                </c:pt>
                <c:pt idx="58">
                  <c:v>2.1273667782159857E-2</c:v>
                </c:pt>
                <c:pt idx="59">
                  <c:v>2.1283268775542642E-2</c:v>
                </c:pt>
                <c:pt idx="60">
                  <c:v>2.1287535883712766E-2</c:v>
                </c:pt>
                <c:pt idx="61">
                  <c:v>2.1433684338539559E-2</c:v>
                </c:pt>
                <c:pt idx="62">
                  <c:v>2.1603301888302041E-2</c:v>
                </c:pt>
                <c:pt idx="63">
                  <c:v>2.1862528709637154E-2</c:v>
                </c:pt>
                <c:pt idx="64">
                  <c:v>2.2088685442653796E-2</c:v>
                </c:pt>
                <c:pt idx="65">
                  <c:v>2.2338311270606131E-2</c:v>
                </c:pt>
                <c:pt idx="66">
                  <c:v>2.2345778709903848E-2</c:v>
                </c:pt>
                <c:pt idx="67">
                  <c:v>2.2358580034414224E-2</c:v>
                </c:pt>
                <c:pt idx="68">
                  <c:v>2.2559134118410117E-2</c:v>
                </c:pt>
                <c:pt idx="69">
                  <c:v>2.2888768224552297E-2</c:v>
                </c:pt>
                <c:pt idx="70">
                  <c:v>2.3254672750140544E-2</c:v>
                </c:pt>
                <c:pt idx="71">
                  <c:v>2.3672849350812829E-2</c:v>
                </c:pt>
                <c:pt idx="72">
                  <c:v>2.4165700344462304E-2</c:v>
                </c:pt>
                <c:pt idx="73">
                  <c:v>2.4195570101653182E-2</c:v>
                </c:pt>
                <c:pt idx="74">
                  <c:v>2.4228640189971652E-2</c:v>
                </c:pt>
                <c:pt idx="75">
                  <c:v>2.4631881912048497E-2</c:v>
                </c:pt>
                <c:pt idx="76">
                  <c:v>2.5080995046954189E-2</c:v>
                </c:pt>
                <c:pt idx="77">
                  <c:v>2.5549310168625446E-2</c:v>
                </c:pt>
                <c:pt idx="78">
                  <c:v>2.6077364804678455E-2</c:v>
                </c:pt>
                <c:pt idx="79">
                  <c:v>2.670569648272941E-2</c:v>
                </c:pt>
                <c:pt idx="80">
                  <c:v>2.678463798387673E-2</c:v>
                </c:pt>
                <c:pt idx="81">
                  <c:v>2.6825175511492921E-2</c:v>
                </c:pt>
                <c:pt idx="82">
                  <c:v>2.7470575622224377E-2</c:v>
                </c:pt>
                <c:pt idx="83">
                  <c:v>2.8145845490146711E-2</c:v>
                </c:pt>
                <c:pt idx="84">
                  <c:v>2.8925659508237115E-2</c:v>
                </c:pt>
                <c:pt idx="85">
                  <c:v>2.9739610391688522E-2</c:v>
                </c:pt>
                <c:pt idx="86">
                  <c:v>3.0715711385604694E-2</c:v>
                </c:pt>
                <c:pt idx="87">
                  <c:v>3.0897063482835021E-2</c:v>
                </c:pt>
                <c:pt idx="88">
                  <c:v>3.1045345491746874E-2</c:v>
                </c:pt>
                <c:pt idx="89">
                  <c:v>3.2058783682151641E-2</c:v>
                </c:pt>
                <c:pt idx="90">
                  <c:v>3.3173565691596886E-2</c:v>
                </c:pt>
                <c:pt idx="91">
                  <c:v>3.4475033683485111E-2</c:v>
                </c:pt>
                <c:pt idx="92">
                  <c:v>3.5967454765986451E-2</c:v>
                </c:pt>
                <c:pt idx="93">
                  <c:v>3.6605387437420187E-2</c:v>
                </c:pt>
                <c:pt idx="94">
                  <c:v>3.7101438762197257E-2</c:v>
                </c:pt>
                <c:pt idx="95">
                  <c:v>3.7570820660911046E-2</c:v>
                </c:pt>
                <c:pt idx="96">
                  <c:v>3.7934591632414229E-2</c:v>
                </c:pt>
                <c:pt idx="97">
                  <c:v>3.9445147924638595E-2</c:v>
                </c:pt>
                <c:pt idx="98">
                  <c:v>4.0480988432936522E-2</c:v>
                </c:pt>
                <c:pt idx="99">
                  <c:v>4.1825127506526005E-2</c:v>
                </c:pt>
                <c:pt idx="100">
                  <c:v>4.3353819008473404E-2</c:v>
                </c:pt>
                <c:pt idx="101">
                  <c:v>4.3920277618057543E-2</c:v>
                </c:pt>
                <c:pt idx="102">
                  <c:v>4.4249911724199724E-2</c:v>
                </c:pt>
                <c:pt idx="103">
                  <c:v>4.5336957530539151E-2</c:v>
                </c:pt>
                <c:pt idx="104">
                  <c:v>4.6728034794000013E-2</c:v>
                </c:pt>
                <c:pt idx="105">
                  <c:v>4.7953761615868513E-2</c:v>
                </c:pt>
                <c:pt idx="106">
                  <c:v>4.9143218018290954E-2</c:v>
                </c:pt>
                <c:pt idx="107">
                  <c:v>5.0832992853660587E-2</c:v>
                </c:pt>
                <c:pt idx="108">
                  <c:v>5.1226633582354651E-2</c:v>
                </c:pt>
                <c:pt idx="109">
                  <c:v>5.1469858748051794E-2</c:v>
                </c:pt>
                <c:pt idx="110">
                  <c:v>5.2181399035420191E-2</c:v>
                </c:pt>
                <c:pt idx="111">
                  <c:v>5.2838533693619495E-2</c:v>
                </c:pt>
                <c:pt idx="112">
                  <c:v>5.3572476298881053E-2</c:v>
                </c:pt>
                <c:pt idx="113">
                  <c:v>5.4581647381115692E-2</c:v>
                </c:pt>
                <c:pt idx="114">
                  <c:v>5.5339059081312938E-2</c:v>
                </c:pt>
                <c:pt idx="115">
                  <c:v>5.5575883584754897E-2</c:v>
                </c:pt>
                <c:pt idx="116">
                  <c:v>5.5838310737217602E-2</c:v>
                </c:pt>
                <c:pt idx="117">
                  <c:v>5.6220216918443824E-2</c:v>
                </c:pt>
                <c:pt idx="118">
                  <c:v>5.6816545285218838E-2</c:v>
                </c:pt>
                <c:pt idx="119">
                  <c:v>5.7555821775693052E-2</c:v>
                </c:pt>
                <c:pt idx="120">
                  <c:v>5.8507386897630999E-2</c:v>
                </c:pt>
                <c:pt idx="121">
                  <c:v>5.9152787008362455E-2</c:v>
                </c:pt>
                <c:pt idx="122">
                  <c:v>5.9311736787699625E-2</c:v>
                </c:pt>
                <c:pt idx="123">
                  <c:v>5.9437616478718321E-2</c:v>
                </c:pt>
                <c:pt idx="124">
                  <c:v>5.9640304116799277E-2</c:v>
                </c:pt>
                <c:pt idx="125">
                  <c:v>6.0001941534217403E-2</c:v>
                </c:pt>
                <c:pt idx="126">
                  <c:v>6.0300639106126173E-2</c:v>
                </c:pt>
                <c:pt idx="127">
                  <c:v>6.0717748929755927E-2</c:v>
                </c:pt>
                <c:pt idx="128">
                  <c:v>6.125540455919172E-2</c:v>
                </c:pt>
                <c:pt idx="129">
                  <c:v>6.1331145729211445E-2</c:v>
                </c:pt>
                <c:pt idx="130">
                  <c:v>6.1407953676273698E-2</c:v>
                </c:pt>
                <c:pt idx="131">
                  <c:v>6.1672514382821467E-2</c:v>
                </c:pt>
                <c:pt idx="132">
                  <c:v>6.2724356546757357E-2</c:v>
                </c:pt>
                <c:pt idx="133">
                  <c:v>6.3718592750396569E-2</c:v>
                </c:pt>
                <c:pt idx="134">
                  <c:v>6.4903782044648875E-2</c:v>
                </c:pt>
                <c:pt idx="135">
                  <c:v>6.5376364274490256E-2</c:v>
                </c:pt>
                <c:pt idx="136">
                  <c:v>6.5722000036270406E-2</c:v>
                </c:pt>
                <c:pt idx="137">
                  <c:v>6.5950290323372115E-2</c:v>
                </c:pt>
                <c:pt idx="138">
                  <c:v>6.6144443745112816E-2</c:v>
                </c:pt>
                <c:pt idx="139">
                  <c:v>6.6740772111887836E-2</c:v>
                </c:pt>
                <c:pt idx="140">
                  <c:v>6.7614462509721002E-2</c:v>
                </c:pt>
                <c:pt idx="141">
                  <c:v>6.9054611517138292E-2</c:v>
                </c:pt>
                <c:pt idx="142">
                  <c:v>7.0903336131845102E-2</c:v>
                </c:pt>
                <c:pt idx="143">
                  <c:v>7.1784493968975988E-2</c:v>
                </c:pt>
                <c:pt idx="144">
                  <c:v>7.2459763836898311E-2</c:v>
                </c:pt>
                <c:pt idx="145">
                  <c:v>7.4036460305759624E-2</c:v>
                </c:pt>
                <c:pt idx="146">
                  <c:v>7.5827578960169742E-2</c:v>
                </c:pt>
                <c:pt idx="147">
                  <c:v>7.7384006665222951E-2</c:v>
                </c:pt>
                <c:pt idx="148">
                  <c:v>7.9756518807812635E-2</c:v>
                </c:pt>
                <c:pt idx="149">
                  <c:v>8.276269651366594E-2</c:v>
                </c:pt>
                <c:pt idx="150">
                  <c:v>8.4067364836681757E-2</c:v>
                </c:pt>
                <c:pt idx="151">
                  <c:v>8.5100005013852092E-2</c:v>
                </c:pt>
                <c:pt idx="152">
                  <c:v>8.7668804132267547E-2</c:v>
                </c:pt>
                <c:pt idx="153">
                  <c:v>9.5147977977454723E-2</c:v>
                </c:pt>
                <c:pt idx="154">
                  <c:v>0.10260794983587634</c:v>
                </c:pt>
                <c:pt idx="155">
                  <c:v>0.11019380138531665</c:v>
                </c:pt>
                <c:pt idx="156">
                  <c:v>0.11857440183144281</c:v>
                </c:pt>
                <c:pt idx="157">
                  <c:v>0.12469983560965774</c:v>
                </c:pt>
                <c:pt idx="158">
                  <c:v>0.13061831464162157</c:v>
                </c:pt>
                <c:pt idx="159">
                  <c:v>0.13734114356365404</c:v>
                </c:pt>
                <c:pt idx="160">
                  <c:v>0.14402236818102779</c:v>
                </c:pt>
                <c:pt idx="161">
                  <c:v>0.15073879644080507</c:v>
                </c:pt>
                <c:pt idx="162">
                  <c:v>0.15768884887289669</c:v>
                </c:pt>
                <c:pt idx="163">
                  <c:v>0.16534084059897394</c:v>
                </c:pt>
                <c:pt idx="164">
                  <c:v>0.17118037812979048</c:v>
                </c:pt>
                <c:pt idx="165">
                  <c:v>0.17685883232718477</c:v>
                </c:pt>
                <c:pt idx="166">
                  <c:v>0.18398170264016647</c:v>
                </c:pt>
                <c:pt idx="167">
                  <c:v>0.19123471975233702</c:v>
                </c:pt>
                <c:pt idx="168">
                  <c:v>0.19842906412716832</c:v>
                </c:pt>
                <c:pt idx="169">
                  <c:v>0.20630721258626222</c:v>
                </c:pt>
                <c:pt idx="170">
                  <c:v>0.21429097197256675</c:v>
                </c:pt>
                <c:pt idx="171">
                  <c:v>0.22054335221884289</c:v>
                </c:pt>
                <c:pt idx="172">
                  <c:v>0.22646289802784925</c:v>
                </c:pt>
                <c:pt idx="173">
                  <c:v>0.23366044273380815</c:v>
                </c:pt>
                <c:pt idx="174">
                  <c:v>0.24104253986812499</c:v>
                </c:pt>
                <c:pt idx="175">
                  <c:v>0.24843530477286713</c:v>
                </c:pt>
                <c:pt idx="176">
                  <c:v>0.25584727166437482</c:v>
                </c:pt>
                <c:pt idx="177">
                  <c:v>0.26321230036601118</c:v>
                </c:pt>
                <c:pt idx="178">
                  <c:v>0.27049412045833005</c:v>
                </c:pt>
                <c:pt idx="179">
                  <c:v>0.27777167344247883</c:v>
                </c:pt>
                <c:pt idx="180">
                  <c:v>0.28513030148185997</c:v>
                </c:pt>
                <c:pt idx="181">
                  <c:v>0.29249426340645374</c:v>
                </c:pt>
                <c:pt idx="182">
                  <c:v>0.299828355573856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27A-4123-86A8-89323E6F14AF}"/>
            </c:ext>
          </c:extLst>
        </c:ser>
        <c:ser>
          <c:idx val="6"/>
          <c:order val="6"/>
          <c:tx>
            <c:strRef>
              <c:f>List1!$H$1</c:f>
              <c:strCache>
                <c:ptCount val="1"/>
                <c:pt idx="0">
                  <c:v>10 45-49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H$5:$H$187</c:f>
              <c:numCache>
                <c:formatCode>0.00%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.2578856086451051E-4</c:v>
                </c:pt>
                <c:pt idx="19">
                  <c:v>4.281893435488893E-4</c:v>
                </c:pt>
                <c:pt idx="20">
                  <c:v>8.9195524976652912E-4</c:v>
                </c:pt>
                <c:pt idx="21">
                  <c:v>1.3176034102676505E-3</c:v>
                </c:pt>
                <c:pt idx="22">
                  <c:v>1.6314395166669847E-3</c:v>
                </c:pt>
                <c:pt idx="23">
                  <c:v>1.7991575978196655E-3</c:v>
                </c:pt>
                <c:pt idx="24">
                  <c:v>1.9605227213529263E-3</c:v>
                </c:pt>
                <c:pt idx="25">
                  <c:v>2.1269702109817231E-3</c:v>
                </c:pt>
                <c:pt idx="26">
                  <c:v>2.7521012407326238E-3</c:v>
                </c:pt>
                <c:pt idx="27">
                  <c:v>3.551303309255625E-3</c:v>
                </c:pt>
                <c:pt idx="28">
                  <c:v>4.4851880793103241E-3</c:v>
                </c:pt>
                <c:pt idx="29">
                  <c:v>5.6604852389029727E-3</c:v>
                </c:pt>
                <c:pt idx="30">
                  <c:v>7.2067951234697338E-3</c:v>
                </c:pt>
                <c:pt idx="31">
                  <c:v>7.3923014859567891E-3</c:v>
                </c:pt>
                <c:pt idx="32">
                  <c:v>7.5612901586333539E-3</c:v>
                </c:pt>
                <c:pt idx="33">
                  <c:v>9.0237410026237745E-3</c:v>
                </c:pt>
                <c:pt idx="34">
                  <c:v>1.0934710654545227E-2</c:v>
                </c:pt>
                <c:pt idx="35">
                  <c:v>1.2872362728468242E-2</c:v>
                </c:pt>
                <c:pt idx="36">
                  <c:v>1.5000603530973849E-2</c:v>
                </c:pt>
                <c:pt idx="37">
                  <c:v>1.6696843215358914E-2</c:v>
                </c:pt>
                <c:pt idx="38">
                  <c:v>1.6921737915086374E-2</c:v>
                </c:pt>
                <c:pt idx="39">
                  <c:v>1.7116138418240619E-2</c:v>
                </c:pt>
                <c:pt idx="40">
                  <c:v>1.8541742108038401E-2</c:v>
                </c:pt>
                <c:pt idx="41">
                  <c:v>1.990635740468976E-2</c:v>
                </c:pt>
                <c:pt idx="42">
                  <c:v>2.1215066674290222E-2</c:v>
                </c:pt>
                <c:pt idx="43">
                  <c:v>2.2664811603041804E-2</c:v>
                </c:pt>
                <c:pt idx="44">
                  <c:v>2.3922697211686907E-2</c:v>
                </c:pt>
                <c:pt idx="45">
                  <c:v>2.4054838730170839E-2</c:v>
                </c:pt>
                <c:pt idx="46">
                  <c:v>2.4085332926744054E-2</c:v>
                </c:pt>
                <c:pt idx="47">
                  <c:v>2.4795593588595177E-2</c:v>
                </c:pt>
                <c:pt idx="48">
                  <c:v>2.540801870310724E-2</c:v>
                </c:pt>
                <c:pt idx="49">
                  <c:v>2.6069996887050775E-2</c:v>
                </c:pt>
                <c:pt idx="50">
                  <c:v>2.6711645606612166E-2</c:v>
                </c:pt>
                <c:pt idx="51">
                  <c:v>2.7236399905976236E-2</c:v>
                </c:pt>
                <c:pt idx="52">
                  <c:v>2.7270705877121101E-2</c:v>
                </c:pt>
                <c:pt idx="53">
                  <c:v>2.7306282439789852E-2</c:v>
                </c:pt>
                <c:pt idx="54">
                  <c:v>2.7662048066477356E-2</c:v>
                </c:pt>
                <c:pt idx="55">
                  <c:v>2.8092778593074012E-2</c:v>
                </c:pt>
                <c:pt idx="56">
                  <c:v>2.851080320443183E-2</c:v>
                </c:pt>
                <c:pt idx="57">
                  <c:v>2.8937721956456837E-2</c:v>
                </c:pt>
                <c:pt idx="58">
                  <c:v>2.9329064145813093E-2</c:v>
                </c:pt>
                <c:pt idx="59">
                  <c:v>2.9335417103432512E-2</c:v>
                </c:pt>
                <c:pt idx="60">
                  <c:v>2.9348123018671349E-2</c:v>
                </c:pt>
                <c:pt idx="61">
                  <c:v>2.9538711747253941E-2</c:v>
                </c:pt>
                <c:pt idx="62">
                  <c:v>2.9783935911363545E-2</c:v>
                </c:pt>
                <c:pt idx="63">
                  <c:v>3.013970153805105E-2</c:v>
                </c:pt>
                <c:pt idx="64">
                  <c:v>3.0447184686830962E-2</c:v>
                </c:pt>
                <c:pt idx="65">
                  <c:v>3.0796597355899048E-2</c:v>
                </c:pt>
                <c:pt idx="66">
                  <c:v>3.0818197411805075E-2</c:v>
                </c:pt>
                <c:pt idx="67">
                  <c:v>3.0823279777900611E-2</c:v>
                </c:pt>
                <c:pt idx="68">
                  <c:v>3.1111704053822267E-2</c:v>
                </c:pt>
                <c:pt idx="69">
                  <c:v>3.1482716778796375E-2</c:v>
                </c:pt>
                <c:pt idx="70">
                  <c:v>3.1974435698539465E-2</c:v>
                </c:pt>
                <c:pt idx="71">
                  <c:v>3.2649119797721837E-2</c:v>
                </c:pt>
                <c:pt idx="72">
                  <c:v>3.3295850883378768E-2</c:v>
                </c:pt>
                <c:pt idx="73">
                  <c:v>3.3328886262999749E-2</c:v>
                </c:pt>
                <c:pt idx="74">
                  <c:v>3.3377168740907341E-2</c:v>
                </c:pt>
                <c:pt idx="75">
                  <c:v>3.3881593575889268E-2</c:v>
                </c:pt>
                <c:pt idx="76">
                  <c:v>3.4430489114207131E-2</c:v>
                </c:pt>
                <c:pt idx="77">
                  <c:v>3.5035290679575885E-2</c:v>
                </c:pt>
                <c:pt idx="78">
                  <c:v>3.5779857312571876E-2</c:v>
                </c:pt>
                <c:pt idx="79">
                  <c:v>3.668960084367278E-2</c:v>
                </c:pt>
                <c:pt idx="80">
                  <c:v>3.6783624616440191E-2</c:v>
                </c:pt>
                <c:pt idx="81">
                  <c:v>3.6856048333301576E-2</c:v>
                </c:pt>
                <c:pt idx="82">
                  <c:v>3.7734027076305382E-2</c:v>
                </c:pt>
                <c:pt idx="83">
                  <c:v>3.8605652861689772E-2</c:v>
                </c:pt>
                <c:pt idx="84">
                  <c:v>3.9731396951850947E-2</c:v>
                </c:pt>
                <c:pt idx="85">
                  <c:v>4.0958788363922839E-2</c:v>
                </c:pt>
                <c:pt idx="86">
                  <c:v>4.2211591606472407E-2</c:v>
                </c:pt>
                <c:pt idx="87">
                  <c:v>4.2427592165532678E-2</c:v>
                </c:pt>
                <c:pt idx="88">
                  <c:v>4.2688063427928885E-2</c:v>
                </c:pt>
                <c:pt idx="89">
                  <c:v>4.4140349539728237E-2</c:v>
                </c:pt>
                <c:pt idx="90">
                  <c:v>4.5773059647919105E-2</c:v>
                </c:pt>
                <c:pt idx="91">
                  <c:v>4.7515040627163989E-2</c:v>
                </c:pt>
                <c:pt idx="92">
                  <c:v>4.9525116417948392E-2</c:v>
                </c:pt>
                <c:pt idx="93">
                  <c:v>5.0264600684848844E-2</c:v>
                </c:pt>
                <c:pt idx="94">
                  <c:v>5.0982484895843276E-2</c:v>
                </c:pt>
                <c:pt idx="95">
                  <c:v>5.1639380713691271E-2</c:v>
                </c:pt>
                <c:pt idx="96">
                  <c:v>5.207519360638347E-2</c:v>
                </c:pt>
                <c:pt idx="97">
                  <c:v>5.4176751986887511E-2</c:v>
                </c:pt>
                <c:pt idx="98">
                  <c:v>5.558456739535092E-2</c:v>
                </c:pt>
                <c:pt idx="99">
                  <c:v>5.7292242403450946E-2</c:v>
                </c:pt>
                <c:pt idx="100">
                  <c:v>5.9372200728048961E-2</c:v>
                </c:pt>
                <c:pt idx="101">
                  <c:v>6.013455564237933E-2</c:v>
                </c:pt>
                <c:pt idx="102">
                  <c:v>6.0622462787550763E-2</c:v>
                </c:pt>
                <c:pt idx="103">
                  <c:v>6.2217055150025111E-2</c:v>
                </c:pt>
                <c:pt idx="104">
                  <c:v>6.4190283786616883E-2</c:v>
                </c:pt>
                <c:pt idx="105">
                  <c:v>6.5971653103102171E-2</c:v>
                </c:pt>
                <c:pt idx="106">
                  <c:v>6.7628504450246832E-2</c:v>
                </c:pt>
                <c:pt idx="107">
                  <c:v>6.9966392854193288E-2</c:v>
                </c:pt>
                <c:pt idx="108">
                  <c:v>7.056230027889486E-2</c:v>
                </c:pt>
                <c:pt idx="109">
                  <c:v>7.0804983259956697E-2</c:v>
                </c:pt>
                <c:pt idx="110">
                  <c:v>7.1895150787449125E-2</c:v>
                </c:pt>
                <c:pt idx="111">
                  <c:v>7.2982777131893772E-2</c:v>
                </c:pt>
                <c:pt idx="112">
                  <c:v>7.3984003252714328E-2</c:v>
                </c:pt>
                <c:pt idx="113">
                  <c:v>7.5288900747743137E-2</c:v>
                </c:pt>
                <c:pt idx="114">
                  <c:v>7.6218973743226184E-2</c:v>
                </c:pt>
                <c:pt idx="115">
                  <c:v>7.648833914628958E-2</c:v>
                </c:pt>
                <c:pt idx="116">
                  <c:v>7.6940669728792266E-2</c:v>
                </c:pt>
                <c:pt idx="117">
                  <c:v>7.7464153436632446E-2</c:v>
                </c:pt>
                <c:pt idx="118">
                  <c:v>7.8641991779272863E-2</c:v>
                </c:pt>
                <c:pt idx="119">
                  <c:v>7.9785524150768408E-2</c:v>
                </c:pt>
                <c:pt idx="120">
                  <c:v>8.0957009535789409E-2</c:v>
                </c:pt>
                <c:pt idx="121">
                  <c:v>8.1875647207557509E-2</c:v>
                </c:pt>
                <c:pt idx="122">
                  <c:v>8.2113247822523799E-2</c:v>
                </c:pt>
                <c:pt idx="123">
                  <c:v>8.2293671818915323E-2</c:v>
                </c:pt>
                <c:pt idx="124">
                  <c:v>8.2643084487983409E-2</c:v>
                </c:pt>
                <c:pt idx="125">
                  <c:v>8.3169109378871356E-2</c:v>
                </c:pt>
                <c:pt idx="126">
                  <c:v>8.3772640352716227E-2</c:v>
                </c:pt>
                <c:pt idx="127">
                  <c:v>8.4580736561906414E-2</c:v>
                </c:pt>
                <c:pt idx="128">
                  <c:v>8.5486668318435668E-2</c:v>
                </c:pt>
                <c:pt idx="129">
                  <c:v>8.562008042844349E-2</c:v>
                </c:pt>
                <c:pt idx="130">
                  <c:v>8.5735704257116921E-2</c:v>
                </c:pt>
                <c:pt idx="131">
                  <c:v>8.6219799627716712E-2</c:v>
                </c:pt>
                <c:pt idx="132">
                  <c:v>8.9489031618670098E-2</c:v>
                </c:pt>
                <c:pt idx="133">
                  <c:v>9.2393603842268801E-2</c:v>
                </c:pt>
                <c:pt idx="134">
                  <c:v>9.5375682148824414E-2</c:v>
                </c:pt>
                <c:pt idx="135">
                  <c:v>9.7384487348084928E-2</c:v>
                </c:pt>
                <c:pt idx="136">
                  <c:v>9.9223033283144996E-2</c:v>
                </c:pt>
                <c:pt idx="137">
                  <c:v>0.10092181415057783</c:v>
                </c:pt>
                <c:pt idx="138">
                  <c:v>0.10261932442648677</c:v>
                </c:pt>
                <c:pt idx="139">
                  <c:v>0.10502455418119909</c:v>
                </c:pt>
                <c:pt idx="140">
                  <c:v>0.10793802054546497</c:v>
                </c:pt>
                <c:pt idx="141">
                  <c:v>0.11146137084119515</c:v>
                </c:pt>
                <c:pt idx="142">
                  <c:v>0.11566702878525101</c:v>
                </c:pt>
                <c:pt idx="143">
                  <c:v>0.11833654157693117</c:v>
                </c:pt>
                <c:pt idx="144">
                  <c:v>0.12051687663191603</c:v>
                </c:pt>
                <c:pt idx="145">
                  <c:v>0.12415330957327188</c:v>
                </c:pt>
                <c:pt idx="146">
                  <c:v>0.12796889591949537</c:v>
                </c:pt>
                <c:pt idx="147">
                  <c:v>0.13176923516743225</c:v>
                </c:pt>
                <c:pt idx="148">
                  <c:v>0.13627729389417248</c:v>
                </c:pt>
                <c:pt idx="149">
                  <c:v>0.14179166110782879</c:v>
                </c:pt>
                <c:pt idx="150">
                  <c:v>0.14480804538552927</c:v>
                </c:pt>
                <c:pt idx="151">
                  <c:v>0.14597444840445473</c:v>
                </c:pt>
                <c:pt idx="152">
                  <c:v>0.14908866822949429</c:v>
                </c:pt>
                <c:pt idx="153">
                  <c:v>0.15241761802207021</c:v>
                </c:pt>
                <c:pt idx="154">
                  <c:v>0.15588633288227338</c:v>
                </c:pt>
                <c:pt idx="155">
                  <c:v>0.15924323568837476</c:v>
                </c:pt>
                <c:pt idx="156">
                  <c:v>0.16314903403279402</c:v>
                </c:pt>
                <c:pt idx="157">
                  <c:v>0.16476522645117439</c:v>
                </c:pt>
                <c:pt idx="158">
                  <c:v>0.16607393572077486</c:v>
                </c:pt>
                <c:pt idx="159">
                  <c:v>0.16845248305348559</c:v>
                </c:pt>
                <c:pt idx="160">
                  <c:v>0.17089074818781888</c:v>
                </c:pt>
                <c:pt idx="161">
                  <c:v>0.17328073084424458</c:v>
                </c:pt>
                <c:pt idx="162">
                  <c:v>0.17579777265305868</c:v>
                </c:pt>
                <c:pt idx="163">
                  <c:v>0.17925632278107079</c:v>
                </c:pt>
                <c:pt idx="164">
                  <c:v>0.18029693723913173</c:v>
                </c:pt>
                <c:pt idx="165">
                  <c:v>0.18111646877203688</c:v>
                </c:pt>
                <c:pt idx="166">
                  <c:v>0.18412522950059407</c:v>
                </c:pt>
                <c:pt idx="167">
                  <c:v>0.18722293163582313</c:v>
                </c:pt>
                <c:pt idx="168">
                  <c:v>0.19039813985400908</c:v>
                </c:pt>
                <c:pt idx="169">
                  <c:v>0.19430774997299999</c:v>
                </c:pt>
                <c:pt idx="170">
                  <c:v>0.19838126639857193</c:v>
                </c:pt>
                <c:pt idx="171">
                  <c:v>0.19989581149504157</c:v>
                </c:pt>
                <c:pt idx="172">
                  <c:v>0.20093261417853087</c:v>
                </c:pt>
                <c:pt idx="173">
                  <c:v>0.20383337462755791</c:v>
                </c:pt>
                <c:pt idx="174">
                  <c:v>0.23252460182838128</c:v>
                </c:pt>
                <c:pt idx="175">
                  <c:v>0.2612082054800613</c:v>
                </c:pt>
                <c:pt idx="176">
                  <c:v>0.28989180913174134</c:v>
                </c:pt>
                <c:pt idx="177">
                  <c:v>0.31856143627665867</c:v>
                </c:pt>
                <c:pt idx="178">
                  <c:v>0.34710273367766376</c:v>
                </c:pt>
                <c:pt idx="179">
                  <c:v>0.37563005457190607</c:v>
                </c:pt>
                <c:pt idx="180">
                  <c:v>0.40426410515415462</c:v>
                </c:pt>
                <c:pt idx="181">
                  <c:v>0.43295914412954967</c:v>
                </c:pt>
                <c:pt idx="182">
                  <c:v>0.461633853640562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227A-4123-86A8-89323E6F14AF}"/>
            </c:ext>
          </c:extLst>
        </c:ser>
        <c:ser>
          <c:idx val="7"/>
          <c:order val="7"/>
          <c:tx>
            <c:strRef>
              <c:f>List1!$I$1</c:f>
              <c:strCache>
                <c:ptCount val="1"/>
                <c:pt idx="0">
                  <c:v>11 50-54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I$5:$I$187</c:f>
              <c:numCache>
                <c:formatCode>0.00%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.4451556215831108E-6</c:v>
                </c:pt>
                <c:pt idx="18">
                  <c:v>1.0838667161873331E-4</c:v>
                </c:pt>
                <c:pt idx="19">
                  <c:v>3.9452748469218926E-4</c:v>
                </c:pt>
                <c:pt idx="20">
                  <c:v>7.8471950251962923E-4</c:v>
                </c:pt>
                <c:pt idx="21">
                  <c:v>1.1590148085096549E-3</c:v>
                </c:pt>
                <c:pt idx="22">
                  <c:v>1.4437104659615278E-3</c:v>
                </c:pt>
                <c:pt idx="23">
                  <c:v>1.5983421174709206E-3</c:v>
                </c:pt>
                <c:pt idx="24">
                  <c:v>1.7616447027098121E-3</c:v>
                </c:pt>
                <c:pt idx="25">
                  <c:v>1.9191666654623713E-3</c:v>
                </c:pt>
                <c:pt idx="26">
                  <c:v>2.3888422424768823E-3</c:v>
                </c:pt>
                <c:pt idx="27">
                  <c:v>3.1403231657000999E-3</c:v>
                </c:pt>
                <c:pt idx="28">
                  <c:v>4.0074165386499664E-3</c:v>
                </c:pt>
                <c:pt idx="29">
                  <c:v>5.0493737418113895E-3</c:v>
                </c:pt>
                <c:pt idx="30">
                  <c:v>6.3933684698836823E-3</c:v>
                </c:pt>
                <c:pt idx="31">
                  <c:v>6.5422194989067433E-3</c:v>
                </c:pt>
                <c:pt idx="32">
                  <c:v>6.714193017875133E-3</c:v>
                </c:pt>
                <c:pt idx="33">
                  <c:v>7.9772590311387725E-3</c:v>
                </c:pt>
                <c:pt idx="34">
                  <c:v>9.5597044367722785E-3</c:v>
                </c:pt>
                <c:pt idx="35">
                  <c:v>1.1276549315213014E-2</c:v>
                </c:pt>
                <c:pt idx="36">
                  <c:v>1.3246296427430795E-2</c:v>
                </c:pt>
                <c:pt idx="37">
                  <c:v>1.4964586461493113E-2</c:v>
                </c:pt>
                <c:pt idx="38">
                  <c:v>1.5177024337865832E-2</c:v>
                </c:pt>
                <c:pt idx="39">
                  <c:v>1.5341772078726305E-2</c:v>
                </c:pt>
                <c:pt idx="40">
                  <c:v>1.6666979783718019E-2</c:v>
                </c:pt>
                <c:pt idx="41">
                  <c:v>1.790403299579316E-2</c:v>
                </c:pt>
                <c:pt idx="42">
                  <c:v>1.9188776343380547E-2</c:v>
                </c:pt>
                <c:pt idx="43">
                  <c:v>2.0529880760209673E-2</c:v>
                </c:pt>
                <c:pt idx="44">
                  <c:v>2.171779868115099E-2</c:v>
                </c:pt>
                <c:pt idx="45">
                  <c:v>2.1885436733254632E-2</c:v>
                </c:pt>
                <c:pt idx="46">
                  <c:v>2.1925901090658957E-2</c:v>
                </c:pt>
                <c:pt idx="47">
                  <c:v>2.2661485302044763E-2</c:v>
                </c:pt>
                <c:pt idx="48">
                  <c:v>2.3368166400998903E-2</c:v>
                </c:pt>
                <c:pt idx="49">
                  <c:v>2.4044499231899798E-2</c:v>
                </c:pt>
                <c:pt idx="50">
                  <c:v>2.4706380506584864E-2</c:v>
                </c:pt>
                <c:pt idx="51">
                  <c:v>2.5230971997219534E-2</c:v>
                </c:pt>
                <c:pt idx="52">
                  <c:v>2.5251204175921697E-2</c:v>
                </c:pt>
                <c:pt idx="53">
                  <c:v>2.5278662132731777E-2</c:v>
                </c:pt>
                <c:pt idx="54">
                  <c:v>2.5671744461802381E-2</c:v>
                </c:pt>
                <c:pt idx="55">
                  <c:v>2.6124078171357895E-2</c:v>
                </c:pt>
                <c:pt idx="56">
                  <c:v>2.6512825033563753E-2</c:v>
                </c:pt>
                <c:pt idx="57">
                  <c:v>2.6852436604635783E-2</c:v>
                </c:pt>
                <c:pt idx="58">
                  <c:v>2.720794488754523E-2</c:v>
                </c:pt>
                <c:pt idx="59">
                  <c:v>2.7218060976896309E-2</c:v>
                </c:pt>
                <c:pt idx="60">
                  <c:v>2.7233957688733726E-2</c:v>
                </c:pt>
                <c:pt idx="61">
                  <c:v>2.7423273075161111E-2</c:v>
                </c:pt>
                <c:pt idx="62">
                  <c:v>2.7641491574020162E-2</c:v>
                </c:pt>
                <c:pt idx="63">
                  <c:v>2.7947864565795781E-2</c:v>
                </c:pt>
                <c:pt idx="64">
                  <c:v>2.8234005378869238E-2</c:v>
                </c:pt>
                <c:pt idx="65">
                  <c:v>2.8551939615617521E-2</c:v>
                </c:pt>
                <c:pt idx="66">
                  <c:v>2.8563500860590188E-2</c:v>
                </c:pt>
                <c:pt idx="67">
                  <c:v>2.8575062105562852E-2</c:v>
                </c:pt>
                <c:pt idx="68">
                  <c:v>2.8842415895555727E-2</c:v>
                </c:pt>
                <c:pt idx="69">
                  <c:v>2.9171911377276677E-2</c:v>
                </c:pt>
                <c:pt idx="70">
                  <c:v>2.9695057712289762E-2</c:v>
                </c:pt>
                <c:pt idx="71">
                  <c:v>3.0369945387569076E-2</c:v>
                </c:pt>
                <c:pt idx="72">
                  <c:v>3.1033271817875723E-2</c:v>
                </c:pt>
                <c:pt idx="73">
                  <c:v>3.1073736175280052E-2</c:v>
                </c:pt>
                <c:pt idx="74">
                  <c:v>3.1192238936249866E-2</c:v>
                </c:pt>
                <c:pt idx="75">
                  <c:v>3.1728391671857196E-2</c:v>
                </c:pt>
                <c:pt idx="76">
                  <c:v>3.228622174178828E-2</c:v>
                </c:pt>
                <c:pt idx="77">
                  <c:v>3.2998683463228755E-2</c:v>
                </c:pt>
                <c:pt idx="78">
                  <c:v>3.378051265450522E-2</c:v>
                </c:pt>
                <c:pt idx="79">
                  <c:v>3.4624483537509756E-2</c:v>
                </c:pt>
                <c:pt idx="80">
                  <c:v>3.4712638030426325E-2</c:v>
                </c:pt>
                <c:pt idx="81">
                  <c:v>3.4773334566532817E-2</c:v>
                </c:pt>
                <c:pt idx="82">
                  <c:v>3.5715576031805002E-2</c:v>
                </c:pt>
                <c:pt idx="83">
                  <c:v>3.6691056076373602E-2</c:v>
                </c:pt>
                <c:pt idx="84">
                  <c:v>3.7798045282506264E-2</c:v>
                </c:pt>
                <c:pt idx="85">
                  <c:v>3.8923821511719511E-2</c:v>
                </c:pt>
                <c:pt idx="86">
                  <c:v>4.0251919527954386E-2</c:v>
                </c:pt>
                <c:pt idx="87">
                  <c:v>4.0556847364108424E-2</c:v>
                </c:pt>
                <c:pt idx="88">
                  <c:v>4.0908020180153118E-2</c:v>
                </c:pt>
                <c:pt idx="89">
                  <c:v>4.2343059712385146E-2</c:v>
                </c:pt>
                <c:pt idx="90">
                  <c:v>4.41784073517957E-2</c:v>
                </c:pt>
                <c:pt idx="91">
                  <c:v>4.589236191899327E-2</c:v>
                </c:pt>
                <c:pt idx="92">
                  <c:v>4.7957489302235534E-2</c:v>
                </c:pt>
                <c:pt idx="93">
                  <c:v>4.872486693729617E-2</c:v>
                </c:pt>
                <c:pt idx="94">
                  <c:v>4.947345754927622E-2</c:v>
                </c:pt>
                <c:pt idx="95">
                  <c:v>5.007319713223321E-2</c:v>
                </c:pt>
                <c:pt idx="96">
                  <c:v>5.059200800038155E-2</c:v>
                </c:pt>
                <c:pt idx="97">
                  <c:v>5.2720722230973467E-2</c:v>
                </c:pt>
                <c:pt idx="98">
                  <c:v>5.419478096498824E-2</c:v>
                </c:pt>
                <c:pt idx="99">
                  <c:v>5.5967986912670721E-2</c:v>
                </c:pt>
                <c:pt idx="100">
                  <c:v>5.8046120696507233E-2</c:v>
                </c:pt>
                <c:pt idx="101">
                  <c:v>5.8934891403780845E-2</c:v>
                </c:pt>
                <c:pt idx="102">
                  <c:v>5.9708049661327811E-2</c:v>
                </c:pt>
                <c:pt idx="103">
                  <c:v>6.1323733646257726E-2</c:v>
                </c:pt>
                <c:pt idx="104">
                  <c:v>6.3510254101712973E-2</c:v>
                </c:pt>
                <c:pt idx="105">
                  <c:v>6.5423640144689016E-2</c:v>
                </c:pt>
                <c:pt idx="106">
                  <c:v>6.7124588311292338E-2</c:v>
                </c:pt>
                <c:pt idx="107">
                  <c:v>6.9360244057881409E-2</c:v>
                </c:pt>
                <c:pt idx="108">
                  <c:v>7.040075610542125E-2</c:v>
                </c:pt>
                <c:pt idx="109">
                  <c:v>7.0682561451629961E-2</c:v>
                </c:pt>
                <c:pt idx="110">
                  <c:v>7.1655151184955385E-2</c:v>
                </c:pt>
                <c:pt idx="111">
                  <c:v>7.2743353368007468E-2</c:v>
                </c:pt>
                <c:pt idx="112">
                  <c:v>7.3624898297173169E-2</c:v>
                </c:pt>
                <c:pt idx="113">
                  <c:v>7.4848945108654058E-2</c:v>
                </c:pt>
                <c:pt idx="114">
                  <c:v>7.5753612527765093E-2</c:v>
                </c:pt>
                <c:pt idx="115">
                  <c:v>7.6022411473379556E-2</c:v>
                </c:pt>
                <c:pt idx="116">
                  <c:v>7.6288320107750843E-2</c:v>
                </c:pt>
                <c:pt idx="117">
                  <c:v>7.6726202261090518E-2</c:v>
                </c:pt>
                <c:pt idx="118">
                  <c:v>7.7681450126956958E-2</c:v>
                </c:pt>
                <c:pt idx="119">
                  <c:v>7.8717626707632049E-2</c:v>
                </c:pt>
                <c:pt idx="120">
                  <c:v>7.9875196360520123E-2</c:v>
                </c:pt>
                <c:pt idx="121">
                  <c:v>8.0842005471359224E-2</c:v>
                </c:pt>
                <c:pt idx="122">
                  <c:v>8.1123810817567935E-2</c:v>
                </c:pt>
                <c:pt idx="123">
                  <c:v>8.1401280696911882E-2</c:v>
                </c:pt>
                <c:pt idx="124">
                  <c:v>8.1820375827170985E-2</c:v>
                </c:pt>
                <c:pt idx="125">
                  <c:v>8.2407109009533727E-2</c:v>
                </c:pt>
                <c:pt idx="126">
                  <c:v>8.3171596333351194E-2</c:v>
                </c:pt>
                <c:pt idx="127">
                  <c:v>8.4017012371977312E-2</c:v>
                </c:pt>
                <c:pt idx="128">
                  <c:v>8.4960698992871092E-2</c:v>
                </c:pt>
                <c:pt idx="129">
                  <c:v>8.5095098465678323E-2</c:v>
                </c:pt>
                <c:pt idx="130">
                  <c:v>8.5251175272809301E-2</c:v>
                </c:pt>
                <c:pt idx="131">
                  <c:v>8.5868256723225289E-2</c:v>
                </c:pt>
                <c:pt idx="132">
                  <c:v>8.880914841314691E-2</c:v>
                </c:pt>
                <c:pt idx="133">
                  <c:v>9.1523150670480002E-2</c:v>
                </c:pt>
                <c:pt idx="134">
                  <c:v>9.4475603605374298E-2</c:v>
                </c:pt>
                <c:pt idx="135">
                  <c:v>9.6637556415262629E-2</c:v>
                </c:pt>
                <c:pt idx="136">
                  <c:v>9.8496026544618503E-2</c:v>
                </c:pt>
                <c:pt idx="137">
                  <c:v>0.10027790342603048</c:v>
                </c:pt>
                <c:pt idx="138">
                  <c:v>0.10207278670803671</c:v>
                </c:pt>
                <c:pt idx="139">
                  <c:v>0.10467117651564314</c:v>
                </c:pt>
                <c:pt idx="140">
                  <c:v>0.10776091923458783</c:v>
                </c:pt>
                <c:pt idx="141">
                  <c:v>0.11125964099444054</c:v>
                </c:pt>
                <c:pt idx="142">
                  <c:v>0.11517745788455236</c:v>
                </c:pt>
                <c:pt idx="143">
                  <c:v>0.11763277728562206</c:v>
                </c:pt>
                <c:pt idx="144">
                  <c:v>0.11966033062270316</c:v>
                </c:pt>
                <c:pt idx="145">
                  <c:v>0.12326888420979619</c:v>
                </c:pt>
                <c:pt idx="146">
                  <c:v>0.12715201736499002</c:v>
                </c:pt>
                <c:pt idx="147">
                  <c:v>0.13095133149413202</c:v>
                </c:pt>
                <c:pt idx="148">
                  <c:v>0.13548044921217348</c:v>
                </c:pt>
                <c:pt idx="149">
                  <c:v>0.13903697719688951</c:v>
                </c:pt>
                <c:pt idx="150">
                  <c:v>0.1406309838474957</c:v>
                </c:pt>
                <c:pt idx="151">
                  <c:v>0.1416917280737377</c:v>
                </c:pt>
                <c:pt idx="152">
                  <c:v>0.14505894067202635</c:v>
                </c:pt>
                <c:pt idx="153">
                  <c:v>0.14849985620701572</c:v>
                </c:pt>
                <c:pt idx="154">
                  <c:v>0.1522167964657275</c:v>
                </c:pt>
                <c:pt idx="155">
                  <c:v>0.15590916907887234</c:v>
                </c:pt>
                <c:pt idx="156">
                  <c:v>0.16018393940751519</c:v>
                </c:pt>
                <c:pt idx="157">
                  <c:v>0.16171580436639327</c:v>
                </c:pt>
                <c:pt idx="158">
                  <c:v>0.16289216104236193</c:v>
                </c:pt>
                <c:pt idx="159">
                  <c:v>0.1652896742185683</c:v>
                </c:pt>
                <c:pt idx="160">
                  <c:v>0.16795887665163231</c:v>
                </c:pt>
                <c:pt idx="161">
                  <c:v>0.17048789898940275</c:v>
                </c:pt>
                <c:pt idx="162">
                  <c:v>0.17318600453489844</c:v>
                </c:pt>
                <c:pt idx="163">
                  <c:v>0.17655321713318708</c:v>
                </c:pt>
                <c:pt idx="164">
                  <c:v>0.17759950980321326</c:v>
                </c:pt>
                <c:pt idx="165">
                  <c:v>0.17840446148443503</c:v>
                </c:pt>
                <c:pt idx="166">
                  <c:v>0.18138292722051783</c:v>
                </c:pt>
                <c:pt idx="167">
                  <c:v>0.18465042408091725</c:v>
                </c:pt>
                <c:pt idx="168">
                  <c:v>0.18907404543858314</c:v>
                </c:pt>
                <c:pt idx="169">
                  <c:v>0.20199229153991458</c:v>
                </c:pt>
                <c:pt idx="170">
                  <c:v>0.21823006010402241</c:v>
                </c:pt>
                <c:pt idx="171">
                  <c:v>0.22891409561438636</c:v>
                </c:pt>
                <c:pt idx="172">
                  <c:v>0.23816164643689669</c:v>
                </c:pt>
                <c:pt idx="173">
                  <c:v>0.26897669975591337</c:v>
                </c:pt>
                <c:pt idx="174">
                  <c:v>0.29770639351298561</c:v>
                </c:pt>
                <c:pt idx="175">
                  <c:v>0.32647221616059741</c:v>
                </c:pt>
                <c:pt idx="176">
                  <c:v>0.35520624538453444</c:v>
                </c:pt>
                <c:pt idx="177">
                  <c:v>0.38392148758539085</c:v>
                </c:pt>
                <c:pt idx="178">
                  <c:v>0.41247342720100832</c:v>
                </c:pt>
                <c:pt idx="179">
                  <c:v>0.44100079917105894</c:v>
                </c:pt>
                <c:pt idx="180">
                  <c:v>0.46966112545829519</c:v>
                </c:pt>
                <c:pt idx="181">
                  <c:v>0.49839370952661061</c:v>
                </c:pt>
                <c:pt idx="182">
                  <c:v>0.527137854839898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227A-4123-86A8-89323E6F14AF}"/>
            </c:ext>
          </c:extLst>
        </c:ser>
        <c:ser>
          <c:idx val="8"/>
          <c:order val="8"/>
          <c:tx>
            <c:strRef>
              <c:f>List1!$J$1</c:f>
              <c:strCache>
                <c:ptCount val="1"/>
                <c:pt idx="0">
                  <c:v>12 55-59</c:v>
                </c:pt>
              </c:strCache>
            </c:strRef>
          </c:tx>
          <c:spPr>
            <a:ln w="2857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J$5:$J$187</c:f>
              <c:numCache>
                <c:formatCode>0.00%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8.2775263567582032E-5</c:v>
                </c:pt>
                <c:pt idx="19">
                  <c:v>3.1199907037011694E-4</c:v>
                </c:pt>
                <c:pt idx="20">
                  <c:v>7.3224271617476416E-4</c:v>
                </c:pt>
                <c:pt idx="21">
                  <c:v>1.1843230018130969E-3</c:v>
                </c:pt>
                <c:pt idx="22">
                  <c:v>1.4644854323495283E-3</c:v>
                </c:pt>
                <c:pt idx="23">
                  <c:v>1.6411787834264824E-3</c:v>
                </c:pt>
                <c:pt idx="24">
                  <c:v>1.7939946546281723E-3</c:v>
                </c:pt>
                <c:pt idx="25">
                  <c:v>1.9420350298548093E-3</c:v>
                </c:pt>
                <c:pt idx="26">
                  <c:v>2.483257907027461E-3</c:v>
                </c:pt>
                <c:pt idx="27">
                  <c:v>3.2107251272271726E-3</c:v>
                </c:pt>
                <c:pt idx="28">
                  <c:v>4.0368859309113086E-3</c:v>
                </c:pt>
                <c:pt idx="29">
                  <c:v>5.0572502375809255E-3</c:v>
                </c:pt>
                <c:pt idx="30">
                  <c:v>6.3943891105957126E-3</c:v>
                </c:pt>
                <c:pt idx="31">
                  <c:v>6.5917762775645622E-3</c:v>
                </c:pt>
                <c:pt idx="32">
                  <c:v>6.7621023006747792E-3</c:v>
                </c:pt>
                <c:pt idx="33">
                  <c:v>8.0801391897893544E-3</c:v>
                </c:pt>
                <c:pt idx="34">
                  <c:v>9.7197261412241519E-3</c:v>
                </c:pt>
                <c:pt idx="35">
                  <c:v>1.1588536899461486E-2</c:v>
                </c:pt>
                <c:pt idx="36">
                  <c:v>1.368497963250967E-2</c:v>
                </c:pt>
                <c:pt idx="37">
                  <c:v>1.5389831695603522E-2</c:v>
                </c:pt>
                <c:pt idx="38">
                  <c:v>1.560154535049753E-2</c:v>
                </c:pt>
                <c:pt idx="39">
                  <c:v>1.58068916774248E-2</c:v>
                </c:pt>
                <c:pt idx="40">
                  <c:v>1.7268193445790961E-2</c:v>
                </c:pt>
                <c:pt idx="41">
                  <c:v>1.8622842470714274E-2</c:v>
                </c:pt>
                <c:pt idx="42">
                  <c:v>2.0106429886964015E-2</c:v>
                </c:pt>
                <c:pt idx="43">
                  <c:v>2.1636180430972596E-2</c:v>
                </c:pt>
                <c:pt idx="44">
                  <c:v>2.2895319536394856E-2</c:v>
                </c:pt>
                <c:pt idx="45">
                  <c:v>2.3091114871372019E-2</c:v>
                </c:pt>
                <c:pt idx="46">
                  <c:v>2.3132502503155811E-2</c:v>
                </c:pt>
                <c:pt idx="47">
                  <c:v>2.3882255371239103E-2</c:v>
                </c:pt>
                <c:pt idx="48">
                  <c:v>2.4601763431480392E-2</c:v>
                </c:pt>
                <c:pt idx="49">
                  <c:v>2.539131209935579E-2</c:v>
                </c:pt>
                <c:pt idx="50">
                  <c:v>2.6126738479513922E-2</c:v>
                </c:pt>
                <c:pt idx="51">
                  <c:v>2.6733226468345628E-2</c:v>
                </c:pt>
                <c:pt idx="52">
                  <c:v>2.6753920284237526E-2</c:v>
                </c:pt>
                <c:pt idx="53">
                  <c:v>2.6785756924071209E-2</c:v>
                </c:pt>
                <c:pt idx="54">
                  <c:v>2.723624537771786E-2</c:v>
                </c:pt>
                <c:pt idx="55">
                  <c:v>2.7755182607006931E-2</c:v>
                </c:pt>
                <c:pt idx="56">
                  <c:v>2.8154732436919683E-2</c:v>
                </c:pt>
                <c:pt idx="57">
                  <c:v>2.8524037458990435E-2</c:v>
                </c:pt>
                <c:pt idx="58">
                  <c:v>2.8961791256703607E-2</c:v>
                </c:pt>
                <c:pt idx="59">
                  <c:v>2.8980893240603819E-2</c:v>
                </c:pt>
                <c:pt idx="60">
                  <c:v>2.8995219728528976E-2</c:v>
                </c:pt>
                <c:pt idx="61">
                  <c:v>2.9162362087655824E-2</c:v>
                </c:pt>
                <c:pt idx="62">
                  <c:v>2.9434565358233834E-2</c:v>
                </c:pt>
                <c:pt idx="63">
                  <c:v>2.9810237708271323E-2</c:v>
                </c:pt>
                <c:pt idx="64">
                  <c:v>3.0123828610633126E-2</c:v>
                </c:pt>
                <c:pt idx="65">
                  <c:v>3.0517011112579141E-2</c:v>
                </c:pt>
                <c:pt idx="66">
                  <c:v>3.0536113096479352E-2</c:v>
                </c:pt>
                <c:pt idx="67">
                  <c:v>3.0559990576354615E-2</c:v>
                </c:pt>
                <c:pt idx="68">
                  <c:v>3.0854479494816206E-2</c:v>
                </c:pt>
                <c:pt idx="69">
                  <c:v>3.1266763980662429E-2</c:v>
                </c:pt>
                <c:pt idx="70">
                  <c:v>3.17857012099515E-2</c:v>
                </c:pt>
                <c:pt idx="71">
                  <c:v>3.2478148126334157E-2</c:v>
                </c:pt>
                <c:pt idx="72">
                  <c:v>3.3269288626201245E-2</c:v>
                </c:pt>
                <c:pt idx="73">
                  <c:v>3.3339329233835348E-2</c:v>
                </c:pt>
                <c:pt idx="74">
                  <c:v>3.3461900297195042E-2</c:v>
                </c:pt>
                <c:pt idx="75">
                  <c:v>3.4034959814201377E-2</c:v>
                </c:pt>
                <c:pt idx="76">
                  <c:v>3.4644631467016448E-2</c:v>
                </c:pt>
                <c:pt idx="77">
                  <c:v>3.5316384567507214E-2</c:v>
                </c:pt>
                <c:pt idx="78">
                  <c:v>3.6066137435590506E-2</c:v>
                </c:pt>
                <c:pt idx="79">
                  <c:v>3.6973481670850537E-2</c:v>
                </c:pt>
                <c:pt idx="80">
                  <c:v>3.706739975835991E-2</c:v>
                </c:pt>
                <c:pt idx="81">
                  <c:v>3.7134256702010648E-2</c:v>
                </c:pt>
                <c:pt idx="82">
                  <c:v>3.860988495830197E-2</c:v>
                </c:pt>
                <c:pt idx="83">
                  <c:v>4.0146002830277291E-2</c:v>
                </c:pt>
                <c:pt idx="84">
                  <c:v>4.1990936108639361E-2</c:v>
                </c:pt>
                <c:pt idx="85">
                  <c:v>4.3929787474510797E-2</c:v>
                </c:pt>
                <c:pt idx="86">
                  <c:v>4.5820883880631713E-2</c:v>
                </c:pt>
                <c:pt idx="87">
                  <c:v>4.6486269653155735E-2</c:v>
                </c:pt>
                <c:pt idx="88">
                  <c:v>4.6949492762735856E-2</c:v>
                </c:pt>
                <c:pt idx="89">
                  <c:v>4.9200343198977418E-2</c:v>
                </c:pt>
                <c:pt idx="90">
                  <c:v>5.1607193170404034E-2</c:v>
                </c:pt>
                <c:pt idx="91">
                  <c:v>5.4235307788674761E-2</c:v>
                </c:pt>
                <c:pt idx="92">
                  <c:v>5.7205666285157608E-2</c:v>
                </c:pt>
                <c:pt idx="93">
                  <c:v>5.8378846463028919E-2</c:v>
                </c:pt>
                <c:pt idx="94">
                  <c:v>5.9451741225424112E-2</c:v>
                </c:pt>
                <c:pt idx="95">
                  <c:v>6.0338391644792252E-2</c:v>
                </c:pt>
                <c:pt idx="96">
                  <c:v>6.0911451161798594E-2</c:v>
                </c:pt>
                <c:pt idx="97">
                  <c:v>6.4028258201516391E-2</c:v>
                </c:pt>
                <c:pt idx="98">
                  <c:v>6.6525842596469015E-2</c:v>
                </c:pt>
                <c:pt idx="99">
                  <c:v>6.8740080896901826E-2</c:v>
                </c:pt>
                <c:pt idx="100">
                  <c:v>7.1497133906498991E-2</c:v>
                </c:pt>
                <c:pt idx="101">
                  <c:v>7.2474518749393133E-2</c:v>
                </c:pt>
                <c:pt idx="102">
                  <c:v>7.3122394370008628E-2</c:v>
                </c:pt>
                <c:pt idx="103">
                  <c:v>7.502304176807964E-2</c:v>
                </c:pt>
                <c:pt idx="104">
                  <c:v>7.7105158013202668E-2</c:v>
                </c:pt>
                <c:pt idx="105">
                  <c:v>7.916976410641717E-2</c:v>
                </c:pt>
                <c:pt idx="106">
                  <c:v>8.1078370664446606E-2</c:v>
                </c:pt>
                <c:pt idx="107">
                  <c:v>8.3762199402426282E-2</c:v>
                </c:pt>
                <c:pt idx="108">
                  <c:v>8.4847828820754964E-2</c:v>
                </c:pt>
                <c:pt idx="109">
                  <c:v>8.5143909571208237E-2</c:v>
                </c:pt>
                <c:pt idx="110">
                  <c:v>8.6399865012647126E-2</c:v>
                </c:pt>
                <c:pt idx="111">
                  <c:v>8.7692432589894745E-2</c:v>
                </c:pt>
                <c:pt idx="112">
                  <c:v>8.8844918951874158E-2</c:v>
                </c:pt>
                <c:pt idx="113">
                  <c:v>9.0551362846959693E-2</c:v>
                </c:pt>
                <c:pt idx="114">
                  <c:v>9.1629033105329952E-2</c:v>
                </c:pt>
                <c:pt idx="115">
                  <c:v>9.1928297519766597E-2</c:v>
                </c:pt>
                <c:pt idx="116">
                  <c:v>9.2475887724905975E-2</c:v>
                </c:pt>
                <c:pt idx="117">
                  <c:v>9.3177885633238741E-2</c:v>
                </c:pt>
                <c:pt idx="118">
                  <c:v>9.4336739323184884E-2</c:v>
                </c:pt>
                <c:pt idx="119">
                  <c:v>9.5659551708274518E-2</c:v>
                </c:pt>
                <c:pt idx="120">
                  <c:v>9.7109710652698883E-2</c:v>
                </c:pt>
                <c:pt idx="121">
                  <c:v>9.8204891062977667E-2</c:v>
                </c:pt>
                <c:pt idx="122">
                  <c:v>9.8564645093098313E-2</c:v>
                </c:pt>
                <c:pt idx="123">
                  <c:v>9.8805011723842637E-2</c:v>
                </c:pt>
                <c:pt idx="124">
                  <c:v>9.9253908345497605E-2</c:v>
                </c:pt>
                <c:pt idx="125">
                  <c:v>9.9959089917813729E-2</c:v>
                </c:pt>
                <c:pt idx="126">
                  <c:v>0.10083618934523177</c:v>
                </c:pt>
                <c:pt idx="127">
                  <c:v>0.10187406380380991</c:v>
                </c:pt>
                <c:pt idx="128">
                  <c:v>0.10299948902193069</c:v>
                </c:pt>
                <c:pt idx="129">
                  <c:v>0.10318891702894112</c:v>
                </c:pt>
                <c:pt idx="130">
                  <c:v>0.10335128389209292</c:v>
                </c:pt>
                <c:pt idx="131">
                  <c:v>0.10413287340000989</c:v>
                </c:pt>
                <c:pt idx="132">
                  <c:v>0.1073706596710957</c:v>
                </c:pt>
                <c:pt idx="133">
                  <c:v>0.11053999716653908</c:v>
                </c:pt>
                <c:pt idx="134">
                  <c:v>0.11392264014886815</c:v>
                </c:pt>
                <c:pt idx="135">
                  <c:v>0.11613210295332592</c:v>
                </c:pt>
                <c:pt idx="136">
                  <c:v>0.11801046470351335</c:v>
                </c:pt>
                <c:pt idx="137">
                  <c:v>0.11980764302212489</c:v>
                </c:pt>
                <c:pt idx="138">
                  <c:v>0.12156502554094432</c:v>
                </c:pt>
                <c:pt idx="139">
                  <c:v>0.12428705824672442</c:v>
                </c:pt>
                <c:pt idx="140">
                  <c:v>0.12741182444640065</c:v>
                </c:pt>
                <c:pt idx="141">
                  <c:v>0.13125132321034311</c:v>
                </c:pt>
                <c:pt idx="142">
                  <c:v>0.13553812676394886</c:v>
                </c:pt>
                <c:pt idx="143">
                  <c:v>0.13838113870109695</c:v>
                </c:pt>
                <c:pt idx="144">
                  <c:v>0.13901468783378729</c:v>
                </c:pt>
                <c:pt idx="145">
                  <c:v>0.14172876137960896</c:v>
                </c:pt>
                <c:pt idx="146">
                  <c:v>0.14428046806227887</c:v>
                </c:pt>
                <c:pt idx="147">
                  <c:v>0.14685286856084065</c:v>
                </c:pt>
                <c:pt idx="148">
                  <c:v>0.15070828564469996</c:v>
                </c:pt>
                <c:pt idx="149">
                  <c:v>0.15482157951121209</c:v>
                </c:pt>
                <c:pt idx="150">
                  <c:v>0.15660443134189847</c:v>
                </c:pt>
                <c:pt idx="151">
                  <c:v>0.15792087639902136</c:v>
                </c:pt>
                <c:pt idx="152">
                  <c:v>0.16176196699495551</c:v>
                </c:pt>
                <c:pt idx="153">
                  <c:v>0.167441623541285</c:v>
                </c:pt>
                <c:pt idx="154">
                  <c:v>0.17233491508372242</c:v>
                </c:pt>
                <c:pt idx="155">
                  <c:v>0.17732053288167757</c:v>
                </c:pt>
                <c:pt idx="156">
                  <c:v>0.18244941555888428</c:v>
                </c:pt>
                <c:pt idx="157">
                  <c:v>0.18429753250122971</c:v>
                </c:pt>
                <c:pt idx="158">
                  <c:v>0.18564581419818629</c:v>
                </c:pt>
                <c:pt idx="159">
                  <c:v>0.18894090642097275</c:v>
                </c:pt>
                <c:pt idx="160">
                  <c:v>0.19210387658844938</c:v>
                </c:pt>
                <c:pt idx="161">
                  <c:v>0.19567594757778889</c:v>
                </c:pt>
                <c:pt idx="162">
                  <c:v>0.20424000369305026</c:v>
                </c:pt>
                <c:pt idx="163">
                  <c:v>0.2161166621830066</c:v>
                </c:pt>
                <c:pt idx="164">
                  <c:v>0.22295198875529884</c:v>
                </c:pt>
                <c:pt idx="165">
                  <c:v>0.22959629548858901</c:v>
                </c:pt>
                <c:pt idx="166">
                  <c:v>0.25699490772945865</c:v>
                </c:pt>
                <c:pt idx="167">
                  <c:v>0.28711236901212506</c:v>
                </c:pt>
                <c:pt idx="168">
                  <c:v>0.32031798435865894</c:v>
                </c:pt>
                <c:pt idx="169">
                  <c:v>0.35468086156314726</c:v>
                </c:pt>
                <c:pt idx="170">
                  <c:v>0.38805202743681627</c:v>
                </c:pt>
                <c:pt idx="171">
                  <c:v>0.39979656387146284</c:v>
                </c:pt>
                <c:pt idx="172">
                  <c:v>0.41000816609811741</c:v>
                </c:pt>
                <c:pt idx="173">
                  <c:v>0.4327363432753854</c:v>
                </c:pt>
                <c:pt idx="174">
                  <c:v>0.4615612369808042</c:v>
                </c:pt>
                <c:pt idx="175">
                  <c:v>0.49043706930995684</c:v>
                </c:pt>
                <c:pt idx="176">
                  <c:v>0.51927947316728418</c:v>
                </c:pt>
                <c:pt idx="177">
                  <c:v>0.54807093840087751</c:v>
                </c:pt>
                <c:pt idx="178">
                  <c:v>0.57663795532364348</c:v>
                </c:pt>
                <c:pt idx="179">
                  <c:v>0.60516676827860894</c:v>
                </c:pt>
                <c:pt idx="180">
                  <c:v>0.63391366221643519</c:v>
                </c:pt>
                <c:pt idx="181">
                  <c:v>0.66271786210596206</c:v>
                </c:pt>
                <c:pt idx="182">
                  <c:v>0.691560265963289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227A-4123-86A8-89323E6F14AF}"/>
            </c:ext>
          </c:extLst>
        </c:ser>
        <c:ser>
          <c:idx val="9"/>
          <c:order val="9"/>
          <c:tx>
            <c:strRef>
              <c:f>List1!$K$1</c:f>
              <c:strCache>
                <c:ptCount val="1"/>
                <c:pt idx="0">
                  <c:v>13 60-64</c:v>
                </c:pt>
              </c:strCache>
            </c:strRef>
          </c:tx>
          <c:spPr>
            <a:ln w="28575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K$5:$K$187</c:f>
              <c:numCache>
                <c:formatCode>0.00%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8.1006244845057196E-5</c:v>
                </c:pt>
                <c:pt idx="19">
                  <c:v>2.9604100388829998E-4</c:v>
                </c:pt>
                <c:pt idx="20">
                  <c:v>5.6704371391540036E-4</c:v>
                </c:pt>
                <c:pt idx="21">
                  <c:v>8.9696005655708793E-4</c:v>
                </c:pt>
                <c:pt idx="22">
                  <c:v>1.1046306115235073E-3</c:v>
                </c:pt>
                <c:pt idx="23">
                  <c:v>1.2033109461529407E-3</c:v>
                </c:pt>
                <c:pt idx="24">
                  <c:v>1.3152468481206561E-3</c:v>
                </c:pt>
                <c:pt idx="25">
                  <c:v>1.4050901378579012E-3</c:v>
                </c:pt>
                <c:pt idx="26">
                  <c:v>1.7129138682691186E-3</c:v>
                </c:pt>
                <c:pt idx="27">
                  <c:v>2.1532932720631569E-3</c:v>
                </c:pt>
                <c:pt idx="28">
                  <c:v>2.7070814186402753E-3</c:v>
                </c:pt>
                <c:pt idx="29">
                  <c:v>3.4597030752916247E-3</c:v>
                </c:pt>
                <c:pt idx="30">
                  <c:v>4.3993755154942884E-3</c:v>
                </c:pt>
                <c:pt idx="31">
                  <c:v>4.5437139154000271E-3</c:v>
                </c:pt>
                <c:pt idx="32">
                  <c:v>4.6792152704135765E-3</c:v>
                </c:pt>
                <c:pt idx="33">
                  <c:v>5.6380346412159815E-3</c:v>
                </c:pt>
                <c:pt idx="34">
                  <c:v>6.8310357016613688E-3</c:v>
                </c:pt>
                <c:pt idx="35">
                  <c:v>8.0019441498762871E-3</c:v>
                </c:pt>
                <c:pt idx="36">
                  <c:v>9.4173441734417412E-3</c:v>
                </c:pt>
                <c:pt idx="37">
                  <c:v>1.069871568280901E-2</c:v>
                </c:pt>
                <c:pt idx="38">
                  <c:v>1.0884293625544959E-2</c:v>
                </c:pt>
                <c:pt idx="39">
                  <c:v>1.1012430776481685E-2</c:v>
                </c:pt>
                <c:pt idx="40">
                  <c:v>1.2168610816542956E-2</c:v>
                </c:pt>
                <c:pt idx="41">
                  <c:v>1.3180452456698489E-2</c:v>
                </c:pt>
                <c:pt idx="42">
                  <c:v>1.4298338635560279E-2</c:v>
                </c:pt>
                <c:pt idx="43">
                  <c:v>1.5464828561329103E-2</c:v>
                </c:pt>
                <c:pt idx="44">
                  <c:v>1.6391245434193482E-2</c:v>
                </c:pt>
                <c:pt idx="45">
                  <c:v>1.6523801107576303E-2</c:v>
                </c:pt>
                <c:pt idx="46">
                  <c:v>1.6559149287145056E-2</c:v>
                </c:pt>
                <c:pt idx="47">
                  <c:v>1.7145339931660199E-2</c:v>
                </c:pt>
                <c:pt idx="48">
                  <c:v>1.7681453988452941E-2</c:v>
                </c:pt>
                <c:pt idx="49">
                  <c:v>1.8202839637092037E-2</c:v>
                </c:pt>
                <c:pt idx="50">
                  <c:v>1.8744845057146235E-2</c:v>
                </c:pt>
                <c:pt idx="51">
                  <c:v>1.9127783669141054E-2</c:v>
                </c:pt>
                <c:pt idx="52">
                  <c:v>1.9149876281371523E-2</c:v>
                </c:pt>
                <c:pt idx="53">
                  <c:v>1.91675503711559E-2</c:v>
                </c:pt>
                <c:pt idx="54">
                  <c:v>1.9497466713797585E-2</c:v>
                </c:pt>
                <c:pt idx="55">
                  <c:v>1.9930481913514802E-2</c:v>
                </c:pt>
                <c:pt idx="56">
                  <c:v>2.0233887121479926E-2</c:v>
                </c:pt>
                <c:pt idx="57">
                  <c:v>2.0529928125368226E-2</c:v>
                </c:pt>
                <c:pt idx="58">
                  <c:v>2.0834806174148714E-2</c:v>
                </c:pt>
                <c:pt idx="59">
                  <c:v>2.0851007423117723E-2</c:v>
                </c:pt>
                <c:pt idx="60">
                  <c:v>2.0867208672086735E-2</c:v>
                </c:pt>
                <c:pt idx="61">
                  <c:v>2.1017438435253933E-2</c:v>
                </c:pt>
                <c:pt idx="62">
                  <c:v>2.1191233651466964E-2</c:v>
                </c:pt>
                <c:pt idx="63">
                  <c:v>2.1453399316601875E-2</c:v>
                </c:pt>
                <c:pt idx="64">
                  <c:v>2.1675798279721943E-2</c:v>
                </c:pt>
                <c:pt idx="65">
                  <c:v>2.2001296099917536E-2</c:v>
                </c:pt>
                <c:pt idx="66">
                  <c:v>2.2011605985625089E-2</c:v>
                </c:pt>
                <c:pt idx="67">
                  <c:v>2.2024861552963369E-2</c:v>
                </c:pt>
                <c:pt idx="68">
                  <c:v>2.2229586426299061E-2</c:v>
                </c:pt>
                <c:pt idx="69">
                  <c:v>2.2530045952633453E-2</c:v>
                </c:pt>
                <c:pt idx="70">
                  <c:v>2.2892364793213164E-2</c:v>
                </c:pt>
                <c:pt idx="71">
                  <c:v>2.3462354188759294E-2</c:v>
                </c:pt>
                <c:pt idx="72">
                  <c:v>2.3996995404736671E-2</c:v>
                </c:pt>
                <c:pt idx="73">
                  <c:v>2.4063273241428082E-2</c:v>
                </c:pt>
                <c:pt idx="74">
                  <c:v>2.4167844939318974E-2</c:v>
                </c:pt>
                <c:pt idx="75">
                  <c:v>2.4597914457405459E-2</c:v>
                </c:pt>
                <c:pt idx="76">
                  <c:v>2.5066277836691426E-2</c:v>
                </c:pt>
                <c:pt idx="77">
                  <c:v>2.5646577117945109E-2</c:v>
                </c:pt>
                <c:pt idx="78">
                  <c:v>2.6253387533875357E-2</c:v>
                </c:pt>
                <c:pt idx="79">
                  <c:v>2.6957405443619673E-2</c:v>
                </c:pt>
                <c:pt idx="80">
                  <c:v>2.7022210439495719E-2</c:v>
                </c:pt>
                <c:pt idx="81">
                  <c:v>2.7072287027218117E-2</c:v>
                </c:pt>
                <c:pt idx="82">
                  <c:v>2.823877695298694E-2</c:v>
                </c:pt>
                <c:pt idx="83">
                  <c:v>2.9564333686815148E-2</c:v>
                </c:pt>
                <c:pt idx="84">
                  <c:v>3.1118180747024882E-2</c:v>
                </c:pt>
                <c:pt idx="85">
                  <c:v>3.2772180982679415E-2</c:v>
                </c:pt>
                <c:pt idx="86">
                  <c:v>3.4159597030752942E-2</c:v>
                </c:pt>
                <c:pt idx="87">
                  <c:v>3.4463002238718066E-2</c:v>
                </c:pt>
                <c:pt idx="88">
                  <c:v>3.475462472016027E-2</c:v>
                </c:pt>
                <c:pt idx="89">
                  <c:v>3.6659007894426797E-2</c:v>
                </c:pt>
                <c:pt idx="90">
                  <c:v>3.8728349240014164E-2</c:v>
                </c:pt>
                <c:pt idx="91">
                  <c:v>4.0603275597973401E-2</c:v>
                </c:pt>
                <c:pt idx="92">
                  <c:v>4.2903852951573021E-2</c:v>
                </c:pt>
                <c:pt idx="93">
                  <c:v>4.3579886885825411E-2</c:v>
                </c:pt>
                <c:pt idx="94">
                  <c:v>4.4338399905738221E-2</c:v>
                </c:pt>
                <c:pt idx="95">
                  <c:v>4.481707317073174E-2</c:v>
                </c:pt>
                <c:pt idx="96">
                  <c:v>4.5301637798986716E-2</c:v>
                </c:pt>
                <c:pt idx="97">
                  <c:v>4.7362142099681898E-2</c:v>
                </c:pt>
                <c:pt idx="98">
                  <c:v>4.8804053257923918E-2</c:v>
                </c:pt>
                <c:pt idx="99">
                  <c:v>5.0225344644750827E-2</c:v>
                </c:pt>
                <c:pt idx="100">
                  <c:v>5.1922057264050935E-2</c:v>
                </c:pt>
                <c:pt idx="101">
                  <c:v>5.2453752798397583E-2</c:v>
                </c:pt>
                <c:pt idx="102">
                  <c:v>5.2774832096147084E-2</c:v>
                </c:pt>
                <c:pt idx="103">
                  <c:v>5.3848533050547931E-2</c:v>
                </c:pt>
                <c:pt idx="104">
                  <c:v>5.4988511841640192E-2</c:v>
                </c:pt>
                <c:pt idx="105">
                  <c:v>5.6219806763285064E-2</c:v>
                </c:pt>
                <c:pt idx="106">
                  <c:v>5.728614351360909E-2</c:v>
                </c:pt>
                <c:pt idx="107">
                  <c:v>5.8969600565570914E-2</c:v>
                </c:pt>
                <c:pt idx="108">
                  <c:v>5.9405561446918859E-2</c:v>
                </c:pt>
                <c:pt idx="109">
                  <c:v>5.9654471544715489E-2</c:v>
                </c:pt>
                <c:pt idx="110">
                  <c:v>6.0532284670672835E-2</c:v>
                </c:pt>
                <c:pt idx="111">
                  <c:v>6.1371803935430701E-2</c:v>
                </c:pt>
                <c:pt idx="112">
                  <c:v>6.2304112171556542E-2</c:v>
                </c:pt>
                <c:pt idx="113">
                  <c:v>6.3617886178861827E-2</c:v>
                </c:pt>
                <c:pt idx="114">
                  <c:v>6.4582596912925699E-2</c:v>
                </c:pt>
                <c:pt idx="115">
                  <c:v>6.4819724284199409E-2</c:v>
                </c:pt>
                <c:pt idx="116">
                  <c:v>6.5043596088134842E-2</c:v>
                </c:pt>
                <c:pt idx="117">
                  <c:v>6.5784435018263268E-2</c:v>
                </c:pt>
                <c:pt idx="118">
                  <c:v>6.6859608813479479E-2</c:v>
                </c:pt>
                <c:pt idx="119">
                  <c:v>6.8216095204430352E-2</c:v>
                </c:pt>
                <c:pt idx="120">
                  <c:v>6.9696300223871854E-2</c:v>
                </c:pt>
                <c:pt idx="121">
                  <c:v>7.0730234476257856E-2</c:v>
                </c:pt>
                <c:pt idx="122">
                  <c:v>7.1005655708731047E-2</c:v>
                </c:pt>
                <c:pt idx="123">
                  <c:v>7.1186815129020906E-2</c:v>
                </c:pt>
                <c:pt idx="124">
                  <c:v>7.1780369977612862E-2</c:v>
                </c:pt>
                <c:pt idx="125">
                  <c:v>7.2696476964769691E-2</c:v>
                </c:pt>
                <c:pt idx="126">
                  <c:v>7.3776069282432008E-2</c:v>
                </c:pt>
                <c:pt idx="127">
                  <c:v>7.4982325910215669E-2</c:v>
                </c:pt>
                <c:pt idx="128">
                  <c:v>7.6165017084953504E-2</c:v>
                </c:pt>
                <c:pt idx="129">
                  <c:v>7.6418345705196233E-2</c:v>
                </c:pt>
                <c:pt idx="130">
                  <c:v>7.6550901378579062E-2</c:v>
                </c:pt>
                <c:pt idx="131">
                  <c:v>7.7411040414752025E-2</c:v>
                </c:pt>
                <c:pt idx="132">
                  <c:v>8.001207729468604E-2</c:v>
                </c:pt>
                <c:pt idx="133">
                  <c:v>8.26617179215271E-2</c:v>
                </c:pt>
                <c:pt idx="134">
                  <c:v>8.5451278425827795E-2</c:v>
                </c:pt>
                <c:pt idx="135">
                  <c:v>8.7199540473665668E-2</c:v>
                </c:pt>
                <c:pt idx="136">
                  <c:v>8.872098503593738E-2</c:v>
                </c:pt>
                <c:pt idx="137">
                  <c:v>9.0142276422764289E-2</c:v>
                </c:pt>
                <c:pt idx="138">
                  <c:v>9.1566513491221926E-2</c:v>
                </c:pt>
                <c:pt idx="139">
                  <c:v>9.3940732885589795E-2</c:v>
                </c:pt>
                <c:pt idx="140">
                  <c:v>9.666548839401444E-2</c:v>
                </c:pt>
                <c:pt idx="141">
                  <c:v>0.10045658065276312</c:v>
                </c:pt>
                <c:pt idx="142">
                  <c:v>0.10413868269117481</c:v>
                </c:pt>
                <c:pt idx="143">
                  <c:v>0.10643926004477443</c:v>
                </c:pt>
                <c:pt idx="144">
                  <c:v>0.10836868151290216</c:v>
                </c:pt>
                <c:pt idx="145">
                  <c:v>0.11138505950276902</c:v>
                </c:pt>
                <c:pt idx="146">
                  <c:v>0.11394780252150355</c:v>
                </c:pt>
                <c:pt idx="147">
                  <c:v>0.11676829268292691</c:v>
                </c:pt>
                <c:pt idx="148">
                  <c:v>0.12106604218216103</c:v>
                </c:pt>
                <c:pt idx="149">
                  <c:v>0.12561122893837642</c:v>
                </c:pt>
                <c:pt idx="150">
                  <c:v>0.12702662896194189</c:v>
                </c:pt>
                <c:pt idx="151">
                  <c:v>0.1280856015081891</c:v>
                </c:pt>
                <c:pt idx="152">
                  <c:v>0.13208436432190418</c:v>
                </c:pt>
                <c:pt idx="153">
                  <c:v>0.13744255920820087</c:v>
                </c:pt>
                <c:pt idx="154">
                  <c:v>0.14245463650288687</c:v>
                </c:pt>
                <c:pt idx="155">
                  <c:v>0.14786585365853669</c:v>
                </c:pt>
                <c:pt idx="156">
                  <c:v>0.15296924708377529</c:v>
                </c:pt>
                <c:pt idx="157">
                  <c:v>0.15591345587368927</c:v>
                </c:pt>
                <c:pt idx="158">
                  <c:v>0.16044538706256639</c:v>
                </c:pt>
                <c:pt idx="159">
                  <c:v>0.17195858371627207</c:v>
                </c:pt>
                <c:pt idx="160">
                  <c:v>0.18845734652998716</c:v>
                </c:pt>
                <c:pt idx="161">
                  <c:v>0.21098444680098991</c:v>
                </c:pt>
                <c:pt idx="162">
                  <c:v>0.24122481442205743</c:v>
                </c:pt>
                <c:pt idx="163">
                  <c:v>0.27118976081065177</c:v>
                </c:pt>
                <c:pt idx="164">
                  <c:v>0.28117856722045503</c:v>
                </c:pt>
                <c:pt idx="165">
                  <c:v>0.28958701543537196</c:v>
                </c:pt>
                <c:pt idx="166">
                  <c:v>0.32006598326852853</c:v>
                </c:pt>
                <c:pt idx="167">
                  <c:v>0.34430010604453892</c:v>
                </c:pt>
                <c:pt idx="168">
                  <c:v>0.37110875456580678</c:v>
                </c:pt>
                <c:pt idx="169">
                  <c:v>0.39474637681159447</c:v>
                </c:pt>
                <c:pt idx="170">
                  <c:v>0.41784935784140481</c:v>
                </c:pt>
                <c:pt idx="171">
                  <c:v>0.42463326263697448</c:v>
                </c:pt>
                <c:pt idx="172">
                  <c:v>0.43036555909037383</c:v>
                </c:pt>
                <c:pt idx="173">
                  <c:v>0.4454091551785086</c:v>
                </c:pt>
                <c:pt idx="174">
                  <c:v>0.46915429480381793</c:v>
                </c:pt>
                <c:pt idx="175">
                  <c:v>0.49298780487804911</c:v>
                </c:pt>
                <c:pt idx="176">
                  <c:v>0.51685371745021835</c:v>
                </c:pt>
                <c:pt idx="177">
                  <c:v>0.54058265582655862</c:v>
                </c:pt>
                <c:pt idx="178">
                  <c:v>0.56397284081536503</c:v>
                </c:pt>
                <c:pt idx="179">
                  <c:v>0.58729380228584938</c:v>
                </c:pt>
                <c:pt idx="180">
                  <c:v>0.61093289737245238</c:v>
                </c:pt>
                <c:pt idx="181">
                  <c:v>0.63476493460586825</c:v>
                </c:pt>
                <c:pt idx="182">
                  <c:v>0.658521856957700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227A-4123-86A8-89323E6F14AF}"/>
            </c:ext>
          </c:extLst>
        </c:ser>
        <c:ser>
          <c:idx val="10"/>
          <c:order val="10"/>
          <c:tx>
            <c:strRef>
              <c:f>List1!$L$1</c:f>
              <c:strCache>
                <c:ptCount val="1"/>
                <c:pt idx="0">
                  <c:v>14 65-69</c:v>
                </c:pt>
              </c:strCache>
            </c:strRef>
          </c:tx>
          <c:spPr>
            <a:ln w="28575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L$5:$L$187</c:f>
              <c:numCache>
                <c:formatCode>0.00%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3.9709269320030228E-5</c:v>
                </c:pt>
                <c:pt idx="19">
                  <c:v>2.1472419706386716E-4</c:v>
                </c:pt>
                <c:pt idx="20">
                  <c:v>4.5003838562700926E-4</c:v>
                </c:pt>
                <c:pt idx="21">
                  <c:v>6.5005544590568008E-4</c:v>
                </c:pt>
                <c:pt idx="22">
                  <c:v>7.6624182650873154E-4</c:v>
                </c:pt>
                <c:pt idx="23">
                  <c:v>8.265410873280367E-4</c:v>
                </c:pt>
                <c:pt idx="24">
                  <c:v>8.824282071117829E-4</c:v>
                </c:pt>
                <c:pt idx="25">
                  <c:v>9.4713960896664702E-4</c:v>
                </c:pt>
                <c:pt idx="26">
                  <c:v>1.1853952248868285E-3</c:v>
                </c:pt>
                <c:pt idx="27">
                  <c:v>1.4501236870203633E-3</c:v>
                </c:pt>
                <c:pt idx="28">
                  <c:v>1.7295592859390945E-3</c:v>
                </c:pt>
                <c:pt idx="29">
                  <c:v>2.0987084192475238E-3</c:v>
                </c:pt>
                <c:pt idx="30">
                  <c:v>2.6163996340864363E-3</c:v>
                </c:pt>
                <c:pt idx="31">
                  <c:v>2.7502345788317233E-3</c:v>
                </c:pt>
                <c:pt idx="32">
                  <c:v>2.8958352330051675E-3</c:v>
                </c:pt>
                <c:pt idx="33">
                  <c:v>3.500298554876739E-3</c:v>
                </c:pt>
                <c:pt idx="34">
                  <c:v>4.2930132275988235E-3</c:v>
                </c:pt>
                <c:pt idx="35">
                  <c:v>5.1989728535669208E-3</c:v>
                </c:pt>
                <c:pt idx="36">
                  <c:v>6.278476693600335E-3</c:v>
                </c:pt>
                <c:pt idx="37">
                  <c:v>7.1932606016395506E-3</c:v>
                </c:pt>
                <c:pt idx="38">
                  <c:v>7.3506269652411516E-3</c:v>
                </c:pt>
                <c:pt idx="39">
                  <c:v>7.4726962005582818E-3</c:v>
                </c:pt>
                <c:pt idx="40">
                  <c:v>8.2830594374226022E-3</c:v>
                </c:pt>
                <c:pt idx="41">
                  <c:v>9.1154833794647172E-3</c:v>
                </c:pt>
                <c:pt idx="42">
                  <c:v>9.9567316035779497E-3</c:v>
                </c:pt>
                <c:pt idx="43">
                  <c:v>1.0924461204043872E-2</c:v>
                </c:pt>
                <c:pt idx="44">
                  <c:v>1.1711293022051879E-2</c:v>
                </c:pt>
                <c:pt idx="45">
                  <c:v>1.1846598680475686E-2</c:v>
                </c:pt>
                <c:pt idx="46">
                  <c:v>1.1893661518188313E-2</c:v>
                </c:pt>
                <c:pt idx="47">
                  <c:v>1.2346641331172362E-2</c:v>
                </c:pt>
                <c:pt idx="48">
                  <c:v>1.2854037550261637E-2</c:v>
                </c:pt>
                <c:pt idx="49">
                  <c:v>1.3283485944389372E-2</c:v>
                </c:pt>
                <c:pt idx="50">
                  <c:v>1.377470431301493E-2</c:v>
                </c:pt>
                <c:pt idx="51">
                  <c:v>1.4130617023216684E-2</c:v>
                </c:pt>
                <c:pt idx="52">
                  <c:v>1.4152677728394479E-2</c:v>
                </c:pt>
                <c:pt idx="53">
                  <c:v>1.4168855578858195E-2</c:v>
                </c:pt>
                <c:pt idx="54">
                  <c:v>1.4408581908456895E-2</c:v>
                </c:pt>
                <c:pt idx="55">
                  <c:v>1.4782143182800883E-2</c:v>
                </c:pt>
                <c:pt idx="56">
                  <c:v>1.5054225213327017E-2</c:v>
                </c:pt>
                <c:pt idx="57">
                  <c:v>1.528365654717608E-2</c:v>
                </c:pt>
                <c:pt idx="58">
                  <c:v>1.5493968603204388E-2</c:v>
                </c:pt>
                <c:pt idx="59">
                  <c:v>1.5511617167346625E-2</c:v>
                </c:pt>
                <c:pt idx="60">
                  <c:v>1.5520441449417742E-2</c:v>
                </c:pt>
                <c:pt idx="61">
                  <c:v>1.5657217821520068E-2</c:v>
                </c:pt>
                <c:pt idx="62">
                  <c:v>1.5832232749263906E-2</c:v>
                </c:pt>
                <c:pt idx="63">
                  <c:v>1.6027837668507017E-2</c:v>
                </c:pt>
                <c:pt idx="64">
                  <c:v>1.621903044671457E-2</c:v>
                </c:pt>
                <c:pt idx="65">
                  <c:v>1.6511702468739977E-2</c:v>
                </c:pt>
                <c:pt idx="66">
                  <c:v>1.6517585323454057E-2</c:v>
                </c:pt>
                <c:pt idx="67">
                  <c:v>1.6533763173917772E-2</c:v>
                </c:pt>
                <c:pt idx="68">
                  <c:v>1.6710248815340129E-2</c:v>
                </c:pt>
                <c:pt idx="69">
                  <c:v>1.695144585861735E-2</c:v>
                </c:pt>
                <c:pt idx="70">
                  <c:v>1.7255883590070915E-2</c:v>
                </c:pt>
                <c:pt idx="71">
                  <c:v>1.7816225501586899E-2</c:v>
                </c:pt>
                <c:pt idx="72">
                  <c:v>1.833391671642581E-2</c:v>
                </c:pt>
                <c:pt idx="73">
                  <c:v>1.8404510972994753E-2</c:v>
                </c:pt>
                <c:pt idx="74">
                  <c:v>1.8482458797956292E-2</c:v>
                </c:pt>
                <c:pt idx="75">
                  <c:v>1.8914848619441066E-2</c:v>
                </c:pt>
                <c:pt idx="76">
                  <c:v>1.9400184133352549E-2</c:v>
                </c:pt>
                <c:pt idx="77">
                  <c:v>1.991787534819146E-2</c:v>
                </c:pt>
                <c:pt idx="78">
                  <c:v>2.0445861558780011E-2</c:v>
                </c:pt>
                <c:pt idx="79">
                  <c:v>2.1148862697112396E-2</c:v>
                </c:pt>
                <c:pt idx="80">
                  <c:v>2.1212103385288741E-2</c:v>
                </c:pt>
                <c:pt idx="81">
                  <c:v>2.1263578364036927E-2</c:v>
                </c:pt>
                <c:pt idx="82">
                  <c:v>2.2104826588150162E-2</c:v>
                </c:pt>
                <c:pt idx="83">
                  <c:v>2.2975489085833786E-2</c:v>
                </c:pt>
                <c:pt idx="84">
                  <c:v>2.4182945015898412E-2</c:v>
                </c:pt>
                <c:pt idx="85">
                  <c:v>2.5369810954463758E-2</c:v>
                </c:pt>
                <c:pt idx="86">
                  <c:v>2.6394898388391947E-2</c:v>
                </c:pt>
                <c:pt idx="87">
                  <c:v>2.6615505440169891E-2</c:v>
                </c:pt>
                <c:pt idx="88">
                  <c:v>2.6812581073091524E-2</c:v>
                </c:pt>
                <c:pt idx="89">
                  <c:v>2.7953854887622764E-2</c:v>
                </c:pt>
                <c:pt idx="90">
                  <c:v>2.9236317215291886E-2</c:v>
                </c:pt>
                <c:pt idx="91">
                  <c:v>3.052172097031805E-2</c:v>
                </c:pt>
                <c:pt idx="92">
                  <c:v>3.2127740307261496E-2</c:v>
                </c:pt>
                <c:pt idx="93">
                  <c:v>3.2580720120245543E-2</c:v>
                </c:pt>
                <c:pt idx="94">
                  <c:v>3.3024875651158477E-2</c:v>
                </c:pt>
                <c:pt idx="95">
                  <c:v>3.3366081224575031E-2</c:v>
                </c:pt>
                <c:pt idx="96">
                  <c:v>3.364992896452932E-2</c:v>
                </c:pt>
                <c:pt idx="97">
                  <c:v>3.4908859873342135E-2</c:v>
                </c:pt>
                <c:pt idx="98">
                  <c:v>3.5780993084704275E-2</c:v>
                </c:pt>
                <c:pt idx="99">
                  <c:v>3.6839906933238416E-2</c:v>
                </c:pt>
                <c:pt idx="100">
                  <c:v>3.8138547111371254E-2</c:v>
                </c:pt>
                <c:pt idx="101">
                  <c:v>3.8526815522500445E-2</c:v>
                </c:pt>
                <c:pt idx="102">
                  <c:v>3.8810663262454734E-2</c:v>
                </c:pt>
                <c:pt idx="103">
                  <c:v>3.9688679328530957E-2</c:v>
                </c:pt>
                <c:pt idx="104">
                  <c:v>4.0666703924746514E-2</c:v>
                </c:pt>
                <c:pt idx="105">
                  <c:v>4.1750619905815488E-2</c:v>
                </c:pt>
                <c:pt idx="106">
                  <c:v>4.2865420874133378E-2</c:v>
                </c:pt>
                <c:pt idx="107">
                  <c:v>4.4561153745466514E-2</c:v>
                </c:pt>
                <c:pt idx="108">
                  <c:v>4.5089139956055069E-2</c:v>
                </c:pt>
                <c:pt idx="109">
                  <c:v>4.5470054798791654E-2</c:v>
                </c:pt>
                <c:pt idx="110">
                  <c:v>4.678781425474525E-2</c:v>
                </c:pt>
                <c:pt idx="111">
                  <c:v>4.8062923014021777E-2</c:v>
                </c:pt>
                <c:pt idx="112">
                  <c:v>4.9676295919357821E-2</c:v>
                </c:pt>
                <c:pt idx="113">
                  <c:v>5.1323495239299813E-2</c:v>
                </c:pt>
                <c:pt idx="114">
                  <c:v>5.2507419750508121E-2</c:v>
                </c:pt>
                <c:pt idx="115">
                  <c:v>5.2857449605995796E-2</c:v>
                </c:pt>
                <c:pt idx="116">
                  <c:v>5.3200125893090873E-2</c:v>
                </c:pt>
                <c:pt idx="117">
                  <c:v>5.4254627600589453E-2</c:v>
                </c:pt>
                <c:pt idx="118">
                  <c:v>5.5648864167826072E-2</c:v>
                </c:pt>
                <c:pt idx="119">
                  <c:v>5.7475490556547458E-2</c:v>
                </c:pt>
                <c:pt idx="120">
                  <c:v>5.9202108415129517E-2</c:v>
                </c:pt>
                <c:pt idx="121">
                  <c:v>6.043456647772897E-2</c:v>
                </c:pt>
                <c:pt idx="122">
                  <c:v>6.0718414217683266E-2</c:v>
                </c:pt>
                <c:pt idx="123">
                  <c:v>6.0909606995890812E-2</c:v>
                </c:pt>
                <c:pt idx="124">
                  <c:v>6.1709675237005497E-2</c:v>
                </c:pt>
                <c:pt idx="125">
                  <c:v>6.313332607781251E-2</c:v>
                </c:pt>
                <c:pt idx="126">
                  <c:v>6.4892299637322001E-2</c:v>
                </c:pt>
                <c:pt idx="127">
                  <c:v>6.6951298787249494E-2</c:v>
                </c:pt>
                <c:pt idx="128">
                  <c:v>6.8694094496295266E-2</c:v>
                </c:pt>
                <c:pt idx="129">
                  <c:v>6.9127955031458549E-2</c:v>
                </c:pt>
                <c:pt idx="130">
                  <c:v>6.9298557818166837E-2</c:v>
                </c:pt>
                <c:pt idx="131">
                  <c:v>7.051925017133813E-2</c:v>
                </c:pt>
                <c:pt idx="132">
                  <c:v>7.3256248327063178E-2</c:v>
                </c:pt>
                <c:pt idx="133">
                  <c:v>7.612855214121203E-2</c:v>
                </c:pt>
                <c:pt idx="134">
                  <c:v>7.9392065793847111E-2</c:v>
                </c:pt>
                <c:pt idx="135">
                  <c:v>8.1174570772212906E-2</c:v>
                </c:pt>
                <c:pt idx="136">
                  <c:v>8.24614452409176E-2</c:v>
                </c:pt>
                <c:pt idx="137">
                  <c:v>8.3539478367272491E-2</c:v>
                </c:pt>
                <c:pt idx="138">
                  <c:v>8.4593980074771064E-2</c:v>
                </c:pt>
                <c:pt idx="139">
                  <c:v>8.7013304075935868E-2</c:v>
                </c:pt>
                <c:pt idx="140">
                  <c:v>8.9869430039621015E-2</c:v>
                </c:pt>
                <c:pt idx="141">
                  <c:v>9.418009183136207E-2</c:v>
                </c:pt>
                <c:pt idx="142">
                  <c:v>9.8290736562824457E-2</c:v>
                </c:pt>
                <c:pt idx="143">
                  <c:v>0.1007571234017019</c:v>
                </c:pt>
                <c:pt idx="144">
                  <c:v>0.10264993190595667</c:v>
                </c:pt>
                <c:pt idx="145">
                  <c:v>0.10731797712157799</c:v>
                </c:pt>
                <c:pt idx="146">
                  <c:v>0.1114447997035041</c:v>
                </c:pt>
                <c:pt idx="147">
                  <c:v>0.11650699618496869</c:v>
                </c:pt>
                <c:pt idx="148">
                  <c:v>0.1275299952054734</c:v>
                </c:pt>
                <c:pt idx="149">
                  <c:v>0.13724700047945262</c:v>
                </c:pt>
                <c:pt idx="150">
                  <c:v>0.14326516085195501</c:v>
                </c:pt>
                <c:pt idx="151">
                  <c:v>0.14703607072367936</c:v>
                </c:pt>
                <c:pt idx="152">
                  <c:v>0.16646566913060229</c:v>
                </c:pt>
                <c:pt idx="153">
                  <c:v>0.18687182142006226</c:v>
                </c:pt>
                <c:pt idx="154">
                  <c:v>0.21480655702986429</c:v>
                </c:pt>
                <c:pt idx="155">
                  <c:v>0.24871680231549156</c:v>
                </c:pt>
                <c:pt idx="156">
                  <c:v>0.27524994778966438</c:v>
                </c:pt>
                <c:pt idx="157">
                  <c:v>0.28702006935885704</c:v>
                </c:pt>
                <c:pt idx="158">
                  <c:v>0.29666206823523178</c:v>
                </c:pt>
                <c:pt idx="159">
                  <c:v>0.3283132973106529</c:v>
                </c:pt>
                <c:pt idx="160">
                  <c:v>0.35473613925893671</c:v>
                </c:pt>
                <c:pt idx="161">
                  <c:v>0.38531080592168149</c:v>
                </c:pt>
                <c:pt idx="162">
                  <c:v>0.4123322283371228</c:v>
                </c:pt>
                <c:pt idx="163">
                  <c:v>0.43357227528230341</c:v>
                </c:pt>
                <c:pt idx="164">
                  <c:v>0.4389050830806156</c:v>
                </c:pt>
                <c:pt idx="165">
                  <c:v>0.44559094746316591</c:v>
                </c:pt>
                <c:pt idx="166">
                  <c:v>0.46312479593847705</c:v>
                </c:pt>
                <c:pt idx="167">
                  <c:v>0.47940118421865385</c:v>
                </c:pt>
                <c:pt idx="168">
                  <c:v>0.49508046274535172</c:v>
                </c:pt>
                <c:pt idx="169">
                  <c:v>0.51051413208773677</c:v>
                </c:pt>
                <c:pt idx="170">
                  <c:v>0.5229004826882292</c:v>
                </c:pt>
                <c:pt idx="171">
                  <c:v>0.52764647572881207</c:v>
                </c:pt>
                <c:pt idx="172">
                  <c:v>0.53123501710440002</c:v>
                </c:pt>
                <c:pt idx="173">
                  <c:v>0.54166825993981826</c:v>
                </c:pt>
                <c:pt idx="174">
                  <c:v>0.55746372484711926</c:v>
                </c:pt>
                <c:pt idx="175">
                  <c:v>0.57350038679769733</c:v>
                </c:pt>
                <c:pt idx="176">
                  <c:v>0.58947086663274206</c:v>
                </c:pt>
                <c:pt idx="177">
                  <c:v>0.60516632300990369</c:v>
                </c:pt>
                <c:pt idx="178">
                  <c:v>0.61996023190213267</c:v>
                </c:pt>
                <c:pt idx="179">
                  <c:v>0.63462177656329499</c:v>
                </c:pt>
                <c:pt idx="180">
                  <c:v>0.65005103376464457</c:v>
                </c:pt>
                <c:pt idx="181">
                  <c:v>0.66578178727009052</c:v>
                </c:pt>
                <c:pt idx="182">
                  <c:v>0.681468419365180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227A-4123-86A8-89323E6F14AF}"/>
            </c:ext>
          </c:extLst>
        </c:ser>
        <c:ser>
          <c:idx val="11"/>
          <c:order val="11"/>
          <c:tx>
            <c:strRef>
              <c:f>List1!$M$1</c:f>
              <c:strCache>
                <c:ptCount val="1"/>
                <c:pt idx="0">
                  <c:v>15 70-74</c:v>
                </c:pt>
              </c:strCache>
            </c:strRef>
          </c:tx>
          <c:spPr>
            <a:ln w="28575" cap="rnd">
              <a:solidFill>
                <a:schemeClr val="accent6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M$5:$M$187</c:f>
              <c:numCache>
                <c:formatCode>0.00%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2.2038642216205855E-5</c:v>
                </c:pt>
                <c:pt idx="19">
                  <c:v>1.1019321108102929E-4</c:v>
                </c:pt>
                <c:pt idx="20">
                  <c:v>2.6615898676494765E-4</c:v>
                </c:pt>
                <c:pt idx="21">
                  <c:v>4.1025780125552441E-4</c:v>
                </c:pt>
                <c:pt idx="22">
                  <c:v>5.1027933131368947E-4</c:v>
                </c:pt>
                <c:pt idx="23">
                  <c:v>5.5096605540514646E-4</c:v>
                </c:pt>
                <c:pt idx="24">
                  <c:v>5.7978581830326183E-4</c:v>
                </c:pt>
                <c:pt idx="25">
                  <c:v>6.1199614154233185E-4</c:v>
                </c:pt>
                <c:pt idx="26">
                  <c:v>7.1201767160049691E-4</c:v>
                </c:pt>
                <c:pt idx="27">
                  <c:v>8.4255424472725465E-4</c:v>
                </c:pt>
                <c:pt idx="28">
                  <c:v>9.9512946007021823E-4</c:v>
                </c:pt>
                <c:pt idx="29">
                  <c:v>1.2765459683694623E-3</c:v>
                </c:pt>
                <c:pt idx="30">
                  <c:v>1.6579840067268714E-3</c:v>
                </c:pt>
                <c:pt idx="31">
                  <c:v>1.7715677781488554E-3</c:v>
                </c:pt>
                <c:pt idx="32">
                  <c:v>1.8885421099117943E-3</c:v>
                </c:pt>
                <c:pt idx="33">
                  <c:v>2.2801518292920675E-3</c:v>
                </c:pt>
                <c:pt idx="34">
                  <c:v>2.8531565269134199E-3</c:v>
                </c:pt>
                <c:pt idx="35">
                  <c:v>3.7601314181188146E-3</c:v>
                </c:pt>
                <c:pt idx="36">
                  <c:v>4.7010119127337572E-3</c:v>
                </c:pt>
                <c:pt idx="37">
                  <c:v>5.46049742910762E-3</c:v>
                </c:pt>
                <c:pt idx="38">
                  <c:v>5.5944245625753333E-3</c:v>
                </c:pt>
                <c:pt idx="39">
                  <c:v>5.7063130538268399E-3</c:v>
                </c:pt>
                <c:pt idx="40">
                  <c:v>6.3861204021882665E-3</c:v>
                </c:pt>
                <c:pt idx="41">
                  <c:v>7.137129517709743E-3</c:v>
                </c:pt>
                <c:pt idx="42">
                  <c:v>7.9813790426074751E-3</c:v>
                </c:pt>
                <c:pt idx="43">
                  <c:v>8.9426028992681452E-3</c:v>
                </c:pt>
                <c:pt idx="44">
                  <c:v>9.7003931354715314E-3</c:v>
                </c:pt>
                <c:pt idx="45">
                  <c:v>9.8902645145649976E-3</c:v>
                </c:pt>
                <c:pt idx="46">
                  <c:v>9.9292559584859778E-3</c:v>
                </c:pt>
                <c:pt idx="47">
                  <c:v>1.0380200483832959E-2</c:v>
                </c:pt>
                <c:pt idx="48">
                  <c:v>1.0863355332419011E-2</c:v>
                </c:pt>
                <c:pt idx="49">
                  <c:v>1.1341424340493629E-2</c:v>
                </c:pt>
                <c:pt idx="50">
                  <c:v>1.1797454706352043E-2</c:v>
                </c:pt>
                <c:pt idx="51">
                  <c:v>1.2165330503345633E-2</c:v>
                </c:pt>
                <c:pt idx="52">
                  <c:v>1.2178892744709452E-2</c:v>
                </c:pt>
                <c:pt idx="53">
                  <c:v>1.2194150266243748E-2</c:v>
                </c:pt>
                <c:pt idx="54">
                  <c:v>1.2458613972838218E-2</c:v>
                </c:pt>
                <c:pt idx="55">
                  <c:v>1.2770545524206055E-2</c:v>
                </c:pt>
                <c:pt idx="56">
                  <c:v>1.3065524273869119E-2</c:v>
                </c:pt>
                <c:pt idx="57">
                  <c:v>1.3318121019270247E-2</c:v>
                </c:pt>
                <c:pt idx="58">
                  <c:v>1.3480867915636074E-2</c:v>
                </c:pt>
                <c:pt idx="59">
                  <c:v>1.3497820717340849E-2</c:v>
                </c:pt>
                <c:pt idx="60">
                  <c:v>1.3519859359557055E-2</c:v>
                </c:pt>
                <c:pt idx="61">
                  <c:v>1.363852897149047E-2</c:v>
                </c:pt>
                <c:pt idx="62">
                  <c:v>1.3828400350583936E-2</c:v>
                </c:pt>
                <c:pt idx="63">
                  <c:v>1.4043700932234563E-2</c:v>
                </c:pt>
                <c:pt idx="64">
                  <c:v>1.4281040156101396E-2</c:v>
                </c:pt>
                <c:pt idx="65">
                  <c:v>1.4621791470367348E-2</c:v>
                </c:pt>
                <c:pt idx="66">
                  <c:v>1.4635353711731166E-2</c:v>
                </c:pt>
                <c:pt idx="67">
                  <c:v>1.4654001793606418E-2</c:v>
                </c:pt>
                <c:pt idx="68">
                  <c:v>1.4906598539007547E-2</c:v>
                </c:pt>
                <c:pt idx="69">
                  <c:v>1.5157500004238197E-2</c:v>
                </c:pt>
                <c:pt idx="70">
                  <c:v>1.5455869314242214E-2</c:v>
                </c:pt>
                <c:pt idx="71">
                  <c:v>1.5947500563680654E-2</c:v>
                </c:pt>
                <c:pt idx="72">
                  <c:v>1.6483209097551504E-2</c:v>
                </c:pt>
                <c:pt idx="73">
                  <c:v>1.6545934463859168E-2</c:v>
                </c:pt>
                <c:pt idx="74">
                  <c:v>1.6615440950848739E-2</c:v>
                </c:pt>
                <c:pt idx="75">
                  <c:v>1.7078252437389061E-2</c:v>
                </c:pt>
                <c:pt idx="76">
                  <c:v>1.7585141208361795E-2</c:v>
                </c:pt>
                <c:pt idx="77">
                  <c:v>1.817001286717649E-2</c:v>
                </c:pt>
                <c:pt idx="78">
                  <c:v>1.8758275086332141E-2</c:v>
                </c:pt>
                <c:pt idx="79">
                  <c:v>1.9643211335321327E-2</c:v>
                </c:pt>
                <c:pt idx="80">
                  <c:v>1.9707631981799468E-2</c:v>
                </c:pt>
                <c:pt idx="81">
                  <c:v>1.9766966787766176E-2</c:v>
                </c:pt>
                <c:pt idx="82">
                  <c:v>2.0924843144202222E-2</c:v>
                </c:pt>
                <c:pt idx="83">
                  <c:v>2.2411603853710878E-2</c:v>
                </c:pt>
                <c:pt idx="84">
                  <c:v>2.4359480769589381E-2</c:v>
                </c:pt>
                <c:pt idx="85">
                  <c:v>2.6442980099106072E-2</c:v>
                </c:pt>
                <c:pt idx="86">
                  <c:v>2.8921479708343995E-2</c:v>
                </c:pt>
                <c:pt idx="87">
                  <c:v>3.0136995590576272E-2</c:v>
                </c:pt>
                <c:pt idx="88">
                  <c:v>3.1106695848089328E-2</c:v>
                </c:pt>
                <c:pt idx="89">
                  <c:v>3.5592407179172461E-2</c:v>
                </c:pt>
                <c:pt idx="90">
                  <c:v>4.0752840018105585E-2</c:v>
                </c:pt>
                <c:pt idx="91">
                  <c:v>4.7300012036489203E-2</c:v>
                </c:pt>
                <c:pt idx="92">
                  <c:v>5.5561112307225442E-2</c:v>
                </c:pt>
                <c:pt idx="93">
                  <c:v>6.0129892366661962E-2</c:v>
                </c:pt>
                <c:pt idx="94">
                  <c:v>6.3662856241936808E-2</c:v>
                </c:pt>
                <c:pt idx="95">
                  <c:v>6.7007644018288667E-2</c:v>
                </c:pt>
                <c:pt idx="96">
                  <c:v>6.9848933584008746E-2</c:v>
                </c:pt>
                <c:pt idx="97">
                  <c:v>7.9378103422262064E-2</c:v>
                </c:pt>
                <c:pt idx="98">
                  <c:v>8.6861070094749193E-2</c:v>
                </c:pt>
                <c:pt idx="99">
                  <c:v>0.10197449281455498</c:v>
                </c:pt>
                <c:pt idx="100">
                  <c:v>0.11538924480354243</c:v>
                </c:pt>
                <c:pt idx="101">
                  <c:v>0.12368425067768822</c:v>
                </c:pt>
                <c:pt idx="102">
                  <c:v>0.12815979032774849</c:v>
                </c:pt>
                <c:pt idx="103">
                  <c:v>0.14283413548340063</c:v>
                </c:pt>
                <c:pt idx="104">
                  <c:v>0.15735929598405077</c:v>
                </c:pt>
                <c:pt idx="105">
                  <c:v>0.17506649736468693</c:v>
                </c:pt>
                <c:pt idx="106">
                  <c:v>0.19000191566659261</c:v>
                </c:pt>
                <c:pt idx="107">
                  <c:v>0.20083645123611349</c:v>
                </c:pt>
                <c:pt idx="108">
                  <c:v>0.20504583189940881</c:v>
                </c:pt>
                <c:pt idx="109">
                  <c:v>0.20768199256450112</c:v>
                </c:pt>
                <c:pt idx="110">
                  <c:v>0.21536839285744555</c:v>
                </c:pt>
                <c:pt idx="111">
                  <c:v>0.22372273353755803</c:v>
                </c:pt>
                <c:pt idx="112">
                  <c:v>0.23027499139645308</c:v>
                </c:pt>
                <c:pt idx="113">
                  <c:v>0.23849370966292741</c:v>
                </c:pt>
                <c:pt idx="114">
                  <c:v>0.24349648144600614</c:v>
                </c:pt>
                <c:pt idx="115">
                  <c:v>0.24641066805905673</c:v>
                </c:pt>
                <c:pt idx="116">
                  <c:v>0.2485179013109601</c:v>
                </c:pt>
                <c:pt idx="117">
                  <c:v>0.25180504956151573</c:v>
                </c:pt>
                <c:pt idx="118">
                  <c:v>0.2580284230673382</c:v>
                </c:pt>
                <c:pt idx="119">
                  <c:v>0.26458746204691513</c:v>
                </c:pt>
                <c:pt idx="120">
                  <c:v>0.27230437738292812</c:v>
                </c:pt>
                <c:pt idx="121">
                  <c:v>0.27618148313280988</c:v>
                </c:pt>
                <c:pt idx="122">
                  <c:v>0.27841586239749905</c:v>
                </c:pt>
                <c:pt idx="123">
                  <c:v>0.27962120659870848</c:v>
                </c:pt>
                <c:pt idx="124">
                  <c:v>0.28180981329879479</c:v>
                </c:pt>
                <c:pt idx="125">
                  <c:v>0.28559028807895931</c:v>
                </c:pt>
                <c:pt idx="126">
                  <c:v>0.28966743688895741</c:v>
                </c:pt>
                <c:pt idx="127">
                  <c:v>0.29415484350021098</c:v>
                </c:pt>
                <c:pt idx="128">
                  <c:v>0.29767763569446298</c:v>
                </c:pt>
                <c:pt idx="129">
                  <c:v>0.29835066192214249</c:v>
                </c:pt>
                <c:pt idx="130">
                  <c:v>0.29860834450805507</c:v>
                </c:pt>
                <c:pt idx="131">
                  <c:v>0.30079695120814137</c:v>
                </c:pt>
                <c:pt idx="132">
                  <c:v>0.31047361042122618</c:v>
                </c:pt>
                <c:pt idx="133">
                  <c:v>0.31920260801901418</c:v>
                </c:pt>
                <c:pt idx="134">
                  <c:v>0.33040162882518775</c:v>
                </c:pt>
                <c:pt idx="135">
                  <c:v>0.33317849774442965</c:v>
                </c:pt>
                <c:pt idx="136">
                  <c:v>0.33503822009144335</c:v>
                </c:pt>
                <c:pt idx="137">
                  <c:v>0.33688777075743415</c:v>
                </c:pt>
                <c:pt idx="138">
                  <c:v>0.33868815829848115</c:v>
                </c:pt>
                <c:pt idx="139">
                  <c:v>0.34653561020762091</c:v>
                </c:pt>
                <c:pt idx="140">
                  <c:v>0.35446443556494356</c:v>
                </c:pt>
                <c:pt idx="141">
                  <c:v>0.37027461843481557</c:v>
                </c:pt>
                <c:pt idx="142">
                  <c:v>0.38559486533541959</c:v>
                </c:pt>
                <c:pt idx="143">
                  <c:v>0.3930880036889296</c:v>
                </c:pt>
                <c:pt idx="144">
                  <c:v>0.40003356654737537</c:v>
                </c:pt>
                <c:pt idx="145">
                  <c:v>0.41998023303321214</c:v>
                </c:pt>
                <c:pt idx="146">
                  <c:v>0.43688048105270111</c:v>
                </c:pt>
                <c:pt idx="147">
                  <c:v>0.45689495874535696</c:v>
                </c:pt>
                <c:pt idx="148">
                  <c:v>0.4795574640642985</c:v>
                </c:pt>
                <c:pt idx="149">
                  <c:v>0.49783258430204458</c:v>
                </c:pt>
                <c:pt idx="150">
                  <c:v>0.50434076487650725</c:v>
                </c:pt>
                <c:pt idx="151">
                  <c:v>0.51070654191664977</c:v>
                </c:pt>
                <c:pt idx="152">
                  <c:v>0.5250180971158197</c:v>
                </c:pt>
                <c:pt idx="153">
                  <c:v>0.53742415740337313</c:v>
                </c:pt>
                <c:pt idx="154">
                  <c:v>0.5487655817438668</c:v>
                </c:pt>
                <c:pt idx="155">
                  <c:v>0.56091735000584864</c:v>
                </c:pt>
                <c:pt idx="156">
                  <c:v>0.57154336611440082</c:v>
                </c:pt>
                <c:pt idx="157">
                  <c:v>0.57642068716486417</c:v>
                </c:pt>
                <c:pt idx="158">
                  <c:v>0.58030287875525732</c:v>
                </c:pt>
                <c:pt idx="159">
                  <c:v>0.58986425891674976</c:v>
                </c:pt>
                <c:pt idx="160">
                  <c:v>0.60018512459461604</c:v>
                </c:pt>
                <c:pt idx="161">
                  <c:v>0.61138414540078956</c:v>
                </c:pt>
                <c:pt idx="162">
                  <c:v>0.62409535611902889</c:v>
                </c:pt>
                <c:pt idx="163">
                  <c:v>0.6360199568381667</c:v>
                </c:pt>
                <c:pt idx="164">
                  <c:v>0.63919691187764138</c:v>
                </c:pt>
                <c:pt idx="165">
                  <c:v>0.64127023952613516</c:v>
                </c:pt>
                <c:pt idx="166">
                  <c:v>0.65089095449359424</c:v>
                </c:pt>
                <c:pt idx="167">
                  <c:v>0.66145763579617978</c:v>
                </c:pt>
                <c:pt idx="168">
                  <c:v>0.67205313686166335</c:v>
                </c:pt>
                <c:pt idx="169">
                  <c:v>0.68326911046954164</c:v>
                </c:pt>
                <c:pt idx="170">
                  <c:v>0.69262366645023576</c:v>
                </c:pt>
                <c:pt idx="171">
                  <c:v>0.69616171616602207</c:v>
                </c:pt>
                <c:pt idx="172">
                  <c:v>0.69805873467678625</c:v>
                </c:pt>
                <c:pt idx="173">
                  <c:v>0.70603841843922321</c:v>
                </c:pt>
                <c:pt idx="174">
                  <c:v>0.71655763189703536</c:v>
                </c:pt>
                <c:pt idx="175">
                  <c:v>0.72717347632456464</c:v>
                </c:pt>
                <c:pt idx="176">
                  <c:v>0.73749434200243091</c:v>
                </c:pt>
                <c:pt idx="177">
                  <c:v>0.74683364046159073</c:v>
                </c:pt>
                <c:pt idx="178">
                  <c:v>0.75349439625139636</c:v>
                </c:pt>
                <c:pt idx="179">
                  <c:v>0.7597194650373893</c:v>
                </c:pt>
                <c:pt idx="180">
                  <c:v>0.76781442785141873</c:v>
                </c:pt>
                <c:pt idx="181">
                  <c:v>0.77673838266881157</c:v>
                </c:pt>
                <c:pt idx="182">
                  <c:v>0.779194843635833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227A-4123-86A8-89323E6F14AF}"/>
            </c:ext>
          </c:extLst>
        </c:ser>
        <c:ser>
          <c:idx val="12"/>
          <c:order val="12"/>
          <c:tx>
            <c:strRef>
              <c:f>List1!$N$1</c:f>
              <c:strCache>
                <c:ptCount val="1"/>
                <c:pt idx="0">
                  <c:v>16 75-79</c:v>
                </c:pt>
              </c:strCache>
            </c:strRef>
          </c:tx>
          <c:spPr>
            <a:ln w="28575" cap="rnd">
              <a:solidFill>
                <a:schemeClr val="accent1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N$5:$N$187</c:f>
              <c:numCache>
                <c:formatCode>0.00%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.3024394691256719E-5</c:v>
                </c:pt>
                <c:pt idx="19">
                  <c:v>7.0331731332786283E-5</c:v>
                </c:pt>
                <c:pt idx="20">
                  <c:v>2.005756782453535E-4</c:v>
                </c:pt>
                <c:pt idx="21">
                  <c:v>3.2040010940491528E-4</c:v>
                </c:pt>
                <c:pt idx="22">
                  <c:v>4.037562354289583E-4</c:v>
                </c:pt>
                <c:pt idx="23">
                  <c:v>5.0013675614425808E-4</c:v>
                </c:pt>
                <c:pt idx="24">
                  <c:v>5.3139530340327412E-4</c:v>
                </c:pt>
                <c:pt idx="25">
                  <c:v>5.5223433490928495E-4</c:v>
                </c:pt>
                <c:pt idx="26">
                  <c:v>5.9912215579780912E-4</c:v>
                </c:pt>
                <c:pt idx="27">
                  <c:v>6.7205876606884671E-4</c:v>
                </c:pt>
                <c:pt idx="28">
                  <c:v>7.371807395251303E-4</c:v>
                </c:pt>
                <c:pt idx="29">
                  <c:v>9.7943448078250533E-4</c:v>
                </c:pt>
                <c:pt idx="30">
                  <c:v>1.3805858372732123E-3</c:v>
                </c:pt>
                <c:pt idx="31">
                  <c:v>1.484780994803266E-3</c:v>
                </c:pt>
                <c:pt idx="32">
                  <c:v>1.612420062777582E-3</c:v>
                </c:pt>
                <c:pt idx="33">
                  <c:v>2.029200692897797E-3</c:v>
                </c:pt>
                <c:pt idx="34">
                  <c:v>2.795035100743692E-3</c:v>
                </c:pt>
                <c:pt idx="35">
                  <c:v>3.769259823649695E-3</c:v>
                </c:pt>
                <c:pt idx="36">
                  <c:v>5.0326261087015964E-3</c:v>
                </c:pt>
                <c:pt idx="37">
                  <c:v>5.9547532528425725E-3</c:v>
                </c:pt>
                <c:pt idx="38">
                  <c:v>6.0876020786933905E-3</c:v>
                </c:pt>
                <c:pt idx="39">
                  <c:v>6.2438948149884715E-3</c:v>
                </c:pt>
                <c:pt idx="40">
                  <c:v>6.9524218861928373E-3</c:v>
                </c:pt>
                <c:pt idx="41">
                  <c:v>7.8198465726305351E-3</c:v>
                </c:pt>
                <c:pt idx="42">
                  <c:v>9.1353104364474639E-3</c:v>
                </c:pt>
                <c:pt idx="43">
                  <c:v>1.0771174409669307E-2</c:v>
                </c:pt>
                <c:pt idx="44">
                  <c:v>1.1935555295067658E-2</c:v>
                </c:pt>
                <c:pt idx="45">
                  <c:v>1.2334101772620114E-2</c:v>
                </c:pt>
                <c:pt idx="46">
                  <c:v>1.2401828625014648E-2</c:v>
                </c:pt>
                <c:pt idx="47">
                  <c:v>1.3136404485601527E-2</c:v>
                </c:pt>
                <c:pt idx="48">
                  <c:v>1.4066346266557258E-2</c:v>
                </c:pt>
                <c:pt idx="49">
                  <c:v>1.4899907526797687E-2</c:v>
                </c:pt>
                <c:pt idx="50">
                  <c:v>1.5650112661014074E-2</c:v>
                </c:pt>
                <c:pt idx="51">
                  <c:v>1.6405527553106966E-2</c:v>
                </c:pt>
                <c:pt idx="52">
                  <c:v>1.6426366584612974E-2</c:v>
                </c:pt>
                <c:pt idx="53">
                  <c:v>1.6441995858242481E-2</c:v>
                </c:pt>
                <c:pt idx="54">
                  <c:v>1.6892639914559967E-2</c:v>
                </c:pt>
                <c:pt idx="55">
                  <c:v>1.7392776670704223E-2</c:v>
                </c:pt>
                <c:pt idx="56">
                  <c:v>1.7833001211268702E-2</c:v>
                </c:pt>
                <c:pt idx="57">
                  <c:v>1.822112817306815E-2</c:v>
                </c:pt>
                <c:pt idx="58">
                  <c:v>1.8479011187955034E-2</c:v>
                </c:pt>
                <c:pt idx="59">
                  <c:v>1.85076648562758E-2</c:v>
                </c:pt>
                <c:pt idx="60">
                  <c:v>1.853110876672006E-2</c:v>
                </c:pt>
                <c:pt idx="61">
                  <c:v>1.8781177144792192E-2</c:v>
                </c:pt>
                <c:pt idx="62">
                  <c:v>1.9078133343752843E-2</c:v>
                </c:pt>
                <c:pt idx="63">
                  <c:v>1.9416767605725516E-2</c:v>
                </c:pt>
                <c:pt idx="64">
                  <c:v>1.9825733599030979E-2</c:v>
                </c:pt>
                <c:pt idx="65">
                  <c:v>2.038838744969327E-2</c:v>
                </c:pt>
                <c:pt idx="66">
                  <c:v>2.0404016723322777E-2</c:v>
                </c:pt>
                <c:pt idx="67">
                  <c:v>2.0453509423149552E-2</c:v>
                </c:pt>
                <c:pt idx="68">
                  <c:v>2.0888524205837526E-2</c:v>
                </c:pt>
                <c:pt idx="69">
                  <c:v>2.1383451204105283E-2</c:v>
                </c:pt>
                <c:pt idx="70">
                  <c:v>2.1909636749632054E-2</c:v>
                </c:pt>
                <c:pt idx="71">
                  <c:v>2.2683285794292702E-2</c:v>
                </c:pt>
                <c:pt idx="72">
                  <c:v>2.3584573906927669E-2</c:v>
                </c:pt>
                <c:pt idx="73">
                  <c:v>2.3699188580210726E-2</c:v>
                </c:pt>
                <c:pt idx="74">
                  <c:v>2.3779939827296519E-2</c:v>
                </c:pt>
                <c:pt idx="75">
                  <c:v>2.4485862019562633E-2</c:v>
                </c:pt>
                <c:pt idx="76">
                  <c:v>2.5319423279803063E-2</c:v>
                </c:pt>
                <c:pt idx="77">
                  <c:v>2.6228526029252783E-2</c:v>
                </c:pt>
                <c:pt idx="78">
                  <c:v>2.7046458015863705E-2</c:v>
                </c:pt>
                <c:pt idx="79">
                  <c:v>2.8437463368889922E-2</c:v>
                </c:pt>
                <c:pt idx="80">
                  <c:v>2.8526029252790467E-2</c:v>
                </c:pt>
                <c:pt idx="81">
                  <c:v>2.8627619531382272E-2</c:v>
                </c:pt>
                <c:pt idx="82">
                  <c:v>3.0075932221050018E-2</c:v>
                </c:pt>
                <c:pt idx="83">
                  <c:v>3.3089777152606824E-2</c:v>
                </c:pt>
                <c:pt idx="84">
                  <c:v>3.8724130296044483E-2</c:v>
                </c:pt>
                <c:pt idx="85">
                  <c:v>4.5165995910340054E-2</c:v>
                </c:pt>
                <c:pt idx="86">
                  <c:v>5.3045754698550371E-2</c:v>
                </c:pt>
                <c:pt idx="87">
                  <c:v>5.5994477656650887E-2</c:v>
                </c:pt>
                <c:pt idx="88">
                  <c:v>5.857591268445797E-2</c:v>
                </c:pt>
                <c:pt idx="89">
                  <c:v>7.1097565740632182E-2</c:v>
                </c:pt>
                <c:pt idx="90">
                  <c:v>8.5734380494666487E-2</c:v>
                </c:pt>
                <c:pt idx="91">
                  <c:v>0.10739655374516466</c:v>
                </c:pt>
                <c:pt idx="92">
                  <c:v>0.13411479701480869</c:v>
                </c:pt>
                <c:pt idx="93">
                  <c:v>0.14601388400474083</c:v>
                </c:pt>
                <c:pt idx="94">
                  <c:v>0.15565454095520906</c:v>
                </c:pt>
                <c:pt idx="95">
                  <c:v>0.16209380169056639</c:v>
                </c:pt>
                <c:pt idx="96">
                  <c:v>0.16784537438622535</c:v>
                </c:pt>
                <c:pt idx="97">
                  <c:v>0.19079435783221968</c:v>
                </c:pt>
                <c:pt idx="98">
                  <c:v>0.20937756417770478</c:v>
                </c:pt>
                <c:pt idx="99">
                  <c:v>0.23430365073783188</c:v>
                </c:pt>
                <c:pt idx="100">
                  <c:v>0.25609867281418086</c:v>
                </c:pt>
                <c:pt idx="101">
                  <c:v>0.26951640422511358</c:v>
                </c:pt>
                <c:pt idx="102">
                  <c:v>0.27992550046236592</c:v>
                </c:pt>
                <c:pt idx="103">
                  <c:v>0.29812839448286632</c:v>
                </c:pt>
                <c:pt idx="104">
                  <c:v>0.31479961968767495</c:v>
                </c:pt>
                <c:pt idx="105">
                  <c:v>0.33156201565532234</c:v>
                </c:pt>
                <c:pt idx="106">
                  <c:v>0.34836869456491998</c:v>
                </c:pt>
                <c:pt idx="107">
                  <c:v>0.36318003620781714</c:v>
                </c:pt>
                <c:pt idx="108">
                  <c:v>0.36926763828651055</c:v>
                </c:pt>
                <c:pt idx="109">
                  <c:v>0.37296917125776569</c:v>
                </c:pt>
                <c:pt idx="110">
                  <c:v>0.38298232589640385</c:v>
                </c:pt>
                <c:pt idx="111">
                  <c:v>0.39299027077716553</c:v>
                </c:pt>
                <c:pt idx="112">
                  <c:v>0.40139100535302608</c:v>
                </c:pt>
                <c:pt idx="113">
                  <c:v>0.41058883288399162</c:v>
                </c:pt>
                <c:pt idx="114">
                  <c:v>0.41645502025293363</c:v>
                </c:pt>
                <c:pt idx="115">
                  <c:v>0.42010185076648549</c:v>
                </c:pt>
                <c:pt idx="116">
                  <c:v>0.42181586110785491</c:v>
                </c:pt>
                <c:pt idx="117">
                  <c:v>0.4254991599265423</c:v>
                </c:pt>
                <c:pt idx="118">
                  <c:v>0.43094856666536407</c:v>
                </c:pt>
                <c:pt idx="119">
                  <c:v>0.43707263704919302</c:v>
                </c:pt>
                <c:pt idx="120">
                  <c:v>0.44334518553250224</c:v>
                </c:pt>
                <c:pt idx="121">
                  <c:v>0.44702066971437487</c:v>
                </c:pt>
                <c:pt idx="122">
                  <c:v>0.44828143112048852</c:v>
                </c:pt>
                <c:pt idx="123">
                  <c:v>0.44918271923312353</c:v>
                </c:pt>
                <c:pt idx="124">
                  <c:v>0.45136039802550165</c:v>
                </c:pt>
                <c:pt idx="125">
                  <c:v>0.45505411635994203</c:v>
                </c:pt>
                <c:pt idx="126">
                  <c:v>0.45906823480378733</c:v>
                </c:pt>
                <c:pt idx="127">
                  <c:v>0.46319957279985396</c:v>
                </c:pt>
                <c:pt idx="128">
                  <c:v>0.46646348610948291</c:v>
                </c:pt>
                <c:pt idx="129">
                  <c:v>0.46702613996014519</c:v>
                </c:pt>
                <c:pt idx="130">
                  <c:v>0.46737258885893262</c:v>
                </c:pt>
                <c:pt idx="131">
                  <c:v>0.46994099949204848</c:v>
                </c:pt>
                <c:pt idx="132">
                  <c:v>0.48030841766628879</c:v>
                </c:pt>
                <c:pt idx="133">
                  <c:v>0.49003243074278108</c:v>
                </c:pt>
                <c:pt idx="134">
                  <c:v>0.50053530262181045</c:v>
                </c:pt>
                <c:pt idx="135">
                  <c:v>0.50414566483022683</c:v>
                </c:pt>
                <c:pt idx="136">
                  <c:v>0.50565388973547443</c:v>
                </c:pt>
                <c:pt idx="137">
                  <c:v>0.50687557795751426</c:v>
                </c:pt>
                <c:pt idx="138">
                  <c:v>0.50805037835866562</c:v>
                </c:pt>
                <c:pt idx="139">
                  <c:v>0.51496893681866118</c:v>
                </c:pt>
                <c:pt idx="140">
                  <c:v>0.52276273460190925</c:v>
                </c:pt>
                <c:pt idx="141">
                  <c:v>0.5345367874028053</c:v>
                </c:pt>
                <c:pt idx="142">
                  <c:v>0.5448703421508484</c:v>
                </c:pt>
                <c:pt idx="143">
                  <c:v>0.54843642141731441</c:v>
                </c:pt>
                <c:pt idx="144">
                  <c:v>0.55132783703877342</c:v>
                </c:pt>
                <c:pt idx="145">
                  <c:v>0.5602651766759138</c:v>
                </c:pt>
                <c:pt idx="146">
                  <c:v>0.56862423318876243</c:v>
                </c:pt>
                <c:pt idx="147">
                  <c:v>0.57674885059716829</c:v>
                </c:pt>
                <c:pt idx="148">
                  <c:v>0.58519647299391742</c:v>
                </c:pt>
                <c:pt idx="149">
                  <c:v>0.59307102202425122</c:v>
                </c:pt>
                <c:pt idx="150">
                  <c:v>0.59518357884317308</c:v>
                </c:pt>
                <c:pt idx="151">
                  <c:v>0.59746805767201949</c:v>
                </c:pt>
                <c:pt idx="152">
                  <c:v>0.60302947420518616</c:v>
                </c:pt>
                <c:pt idx="153">
                  <c:v>0.61021373031688331</c:v>
                </c:pt>
                <c:pt idx="154">
                  <c:v>0.61877596738691554</c:v>
                </c:pt>
                <c:pt idx="155">
                  <c:v>0.628408809700569</c:v>
                </c:pt>
                <c:pt idx="156">
                  <c:v>0.63767436408392897</c:v>
                </c:pt>
                <c:pt idx="157">
                  <c:v>0.64112843355605031</c:v>
                </c:pt>
                <c:pt idx="158">
                  <c:v>0.64394170280936169</c:v>
                </c:pt>
                <c:pt idx="159">
                  <c:v>0.65298844736190864</c:v>
                </c:pt>
                <c:pt idx="160">
                  <c:v>0.66379609007671347</c:v>
                </c:pt>
                <c:pt idx="161">
                  <c:v>0.67591138201852052</c:v>
                </c:pt>
                <c:pt idx="162">
                  <c:v>0.6891597962984668</c:v>
                </c:pt>
                <c:pt idx="163">
                  <c:v>0.70247854230974593</c:v>
                </c:pt>
                <c:pt idx="164">
                  <c:v>0.70600554839213825</c:v>
                </c:pt>
                <c:pt idx="165">
                  <c:v>0.70773518800713719</c:v>
                </c:pt>
                <c:pt idx="166">
                  <c:v>0.7167142057072895</c:v>
                </c:pt>
                <c:pt idx="167">
                  <c:v>0.72625587725810425</c:v>
                </c:pt>
                <c:pt idx="168">
                  <c:v>0.7369775589679467</c:v>
                </c:pt>
                <c:pt idx="169">
                  <c:v>0.74732674298961932</c:v>
                </c:pt>
                <c:pt idx="170">
                  <c:v>0.75640474608942532</c:v>
                </c:pt>
                <c:pt idx="171">
                  <c:v>0.75967386915693069</c:v>
                </c:pt>
                <c:pt idx="172">
                  <c:v>0.76104664035738911</c:v>
                </c:pt>
                <c:pt idx="173">
                  <c:v>0.76831164771617211</c:v>
                </c:pt>
                <c:pt idx="174">
                  <c:v>0.77321663475689939</c:v>
                </c:pt>
                <c:pt idx="175">
                  <c:v>0.77807212909779999</c:v>
                </c:pt>
                <c:pt idx="176">
                  <c:v>0.78281040388647916</c:v>
                </c:pt>
                <c:pt idx="177">
                  <c:v>0.78632699045311849</c:v>
                </c:pt>
                <c:pt idx="178">
                  <c:v>0.78684536136183048</c:v>
                </c:pt>
                <c:pt idx="179">
                  <c:v>0.78690266869847203</c:v>
                </c:pt>
                <c:pt idx="180">
                  <c:v>0.7890412743067764</c:v>
                </c:pt>
                <c:pt idx="181">
                  <c:v>0.79207856314877745</c:v>
                </c:pt>
                <c:pt idx="182">
                  <c:v>0.79493872022297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227A-4123-86A8-89323E6F14AF}"/>
            </c:ext>
          </c:extLst>
        </c:ser>
        <c:ser>
          <c:idx val="13"/>
          <c:order val="13"/>
          <c:tx>
            <c:strRef>
              <c:f>List1!$O$1</c:f>
              <c:strCache>
                <c:ptCount val="1"/>
                <c:pt idx="0">
                  <c:v>17 80-84</c:v>
                </c:pt>
              </c:strCache>
            </c:strRef>
          </c:tx>
          <c:spPr>
            <a:ln w="28575" cap="rnd">
              <a:solidFill>
                <a:schemeClr val="accent2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O$5:$O$187</c:f>
              <c:numCache>
                <c:formatCode>0.00%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5.6726942679606242E-5</c:v>
                </c:pt>
                <c:pt idx="20">
                  <c:v>3.3163443412692883E-4</c:v>
                </c:pt>
                <c:pt idx="21">
                  <c:v>5.1926970606716485E-4</c:v>
                </c:pt>
                <c:pt idx="22">
                  <c:v>6.0217831459889704E-4</c:v>
                </c:pt>
                <c:pt idx="23">
                  <c:v>7.0690497800740082E-4</c:v>
                </c:pt>
                <c:pt idx="24">
                  <c:v>7.3308664385952687E-4</c:v>
                </c:pt>
                <c:pt idx="25">
                  <c:v>7.3308664385952687E-4</c:v>
                </c:pt>
                <c:pt idx="26">
                  <c:v>7.7235914263771579E-4</c:v>
                </c:pt>
                <c:pt idx="27">
                  <c:v>8.0726803044055035E-4</c:v>
                </c:pt>
                <c:pt idx="28">
                  <c:v>8.4217691824338501E-4</c:v>
                </c:pt>
                <c:pt idx="29">
                  <c:v>1.23053829504992E-3</c:v>
                </c:pt>
                <c:pt idx="30">
                  <c:v>1.806534943796691E-3</c:v>
                </c:pt>
                <c:pt idx="31">
                  <c:v>1.9505341059833838E-3</c:v>
                </c:pt>
                <c:pt idx="32">
                  <c:v>2.0988968791454308E-3</c:v>
                </c:pt>
                <c:pt idx="33">
                  <c:v>2.7316204705718082E-3</c:v>
                </c:pt>
                <c:pt idx="34">
                  <c:v>4.0363401522027515E-3</c:v>
                </c:pt>
                <c:pt idx="35">
                  <c:v>5.6814214899113327E-3</c:v>
                </c:pt>
                <c:pt idx="36">
                  <c:v>8.1468616909865267E-3</c:v>
                </c:pt>
                <c:pt idx="37">
                  <c:v>1.0197758849403061E-2</c:v>
                </c:pt>
                <c:pt idx="38">
                  <c:v>1.2680653494379673E-2</c:v>
                </c:pt>
                <c:pt idx="39">
                  <c:v>1.5892271172240457E-2</c:v>
                </c:pt>
                <c:pt idx="40">
                  <c:v>2.3816588703483913E-2</c:v>
                </c:pt>
                <c:pt idx="41">
                  <c:v>3.414089227117225E-2</c:v>
                </c:pt>
                <c:pt idx="42">
                  <c:v>4.6699364658242003E-2</c:v>
                </c:pt>
                <c:pt idx="43">
                  <c:v>6.4769077707184264E-2</c:v>
                </c:pt>
                <c:pt idx="44">
                  <c:v>8.3100607414647795E-2</c:v>
                </c:pt>
                <c:pt idx="45">
                  <c:v>8.7712944215597319E-2</c:v>
                </c:pt>
                <c:pt idx="46">
                  <c:v>9.0662745234936837E-2</c:v>
                </c:pt>
                <c:pt idx="47">
                  <c:v>0.10253613069887596</c:v>
                </c:pt>
                <c:pt idx="48">
                  <c:v>0.11311352370313485</c:v>
                </c:pt>
                <c:pt idx="49">
                  <c:v>0.12278328562452004</c:v>
                </c:pt>
                <c:pt idx="50">
                  <c:v>0.13174177895692246</c:v>
                </c:pt>
                <c:pt idx="51">
                  <c:v>0.14138972282343087</c:v>
                </c:pt>
                <c:pt idx="52">
                  <c:v>0.1436631641415905</c:v>
                </c:pt>
                <c:pt idx="53">
                  <c:v>0.14567478880122883</c:v>
                </c:pt>
                <c:pt idx="54">
                  <c:v>0.15281365635690849</c:v>
                </c:pt>
                <c:pt idx="55">
                  <c:v>0.16003543252111993</c:v>
                </c:pt>
                <c:pt idx="56">
                  <c:v>0.16694739230608116</c:v>
                </c:pt>
                <c:pt idx="57">
                  <c:v>0.17380262514836281</c:v>
                </c:pt>
                <c:pt idx="58">
                  <c:v>0.18026513300286257</c:v>
                </c:pt>
                <c:pt idx="59">
                  <c:v>0.18136912657962723</c:v>
                </c:pt>
                <c:pt idx="60">
                  <c:v>0.18229421210640234</c:v>
                </c:pt>
                <c:pt idx="61">
                  <c:v>0.1871989108427006</c:v>
                </c:pt>
                <c:pt idx="62">
                  <c:v>0.19155815820707958</c:v>
                </c:pt>
                <c:pt idx="63">
                  <c:v>0.19661994693849058</c:v>
                </c:pt>
                <c:pt idx="64">
                  <c:v>0.20220973259791949</c:v>
                </c:pt>
                <c:pt idx="65">
                  <c:v>0.20855005934510931</c:v>
                </c:pt>
                <c:pt idx="66">
                  <c:v>0.20989841513649379</c:v>
                </c:pt>
                <c:pt idx="67">
                  <c:v>0.21127295259373041</c:v>
                </c:pt>
                <c:pt idx="68">
                  <c:v>0.21736891712630041</c:v>
                </c:pt>
                <c:pt idx="69">
                  <c:v>0.22556814214899118</c:v>
                </c:pt>
                <c:pt idx="70">
                  <c:v>0.23336591496194936</c:v>
                </c:pt>
                <c:pt idx="71">
                  <c:v>0.24297458632967961</c:v>
                </c:pt>
                <c:pt idx="72">
                  <c:v>0.25170180828038824</c:v>
                </c:pt>
                <c:pt idx="73">
                  <c:v>0.25374397821685407</c:v>
                </c:pt>
                <c:pt idx="74">
                  <c:v>0.25494833484605189</c:v>
                </c:pt>
                <c:pt idx="75">
                  <c:v>0.26556936396006431</c:v>
                </c:pt>
                <c:pt idx="76">
                  <c:v>0.28043618655309649</c:v>
                </c:pt>
                <c:pt idx="77">
                  <c:v>0.29454374083641705</c:v>
                </c:pt>
                <c:pt idx="78">
                  <c:v>0.31364326607554294</c:v>
                </c:pt>
                <c:pt idx="79">
                  <c:v>0.33306569852684503</c:v>
                </c:pt>
                <c:pt idx="80">
                  <c:v>0.33682713118760044</c:v>
                </c:pt>
                <c:pt idx="81">
                  <c:v>0.33969838720938361</c:v>
                </c:pt>
                <c:pt idx="82">
                  <c:v>0.35602265586818416</c:v>
                </c:pt>
                <c:pt idx="83">
                  <c:v>0.37252583257697419</c:v>
                </c:pt>
                <c:pt idx="84">
                  <c:v>0.38962246037841242</c:v>
                </c:pt>
                <c:pt idx="85">
                  <c:v>0.41314668714654762</c:v>
                </c:pt>
                <c:pt idx="86">
                  <c:v>0.42984186273825326</c:v>
                </c:pt>
                <c:pt idx="87">
                  <c:v>0.43330220624170923</c:v>
                </c:pt>
                <c:pt idx="88">
                  <c:v>0.43650509669761933</c:v>
                </c:pt>
                <c:pt idx="89">
                  <c:v>0.45114064790895775</c:v>
                </c:pt>
                <c:pt idx="90">
                  <c:v>0.46328021364239347</c:v>
                </c:pt>
                <c:pt idx="91">
                  <c:v>0.47763649375130923</c:v>
                </c:pt>
                <c:pt idx="92">
                  <c:v>0.49260804300774991</c:v>
                </c:pt>
                <c:pt idx="93">
                  <c:v>0.49679274593311468</c:v>
                </c:pt>
                <c:pt idx="94">
                  <c:v>0.50080290441946529</c:v>
                </c:pt>
                <c:pt idx="95">
                  <c:v>0.50475197235216096</c:v>
                </c:pt>
                <c:pt idx="96">
                  <c:v>0.50709523144592628</c:v>
                </c:pt>
                <c:pt idx="97">
                  <c:v>0.51559118201494114</c:v>
                </c:pt>
                <c:pt idx="98">
                  <c:v>0.52202750820358879</c:v>
                </c:pt>
                <c:pt idx="99">
                  <c:v>0.53118236402988217</c:v>
                </c:pt>
                <c:pt idx="100">
                  <c:v>0.53852632130140343</c:v>
                </c:pt>
                <c:pt idx="101">
                  <c:v>0.54161575787195437</c:v>
                </c:pt>
                <c:pt idx="102">
                  <c:v>0.54357938281086382</c:v>
                </c:pt>
                <c:pt idx="103">
                  <c:v>0.54791244850939058</c:v>
                </c:pt>
                <c:pt idx="104">
                  <c:v>0.55257714864204444</c:v>
                </c:pt>
                <c:pt idx="105">
                  <c:v>0.55778730014661748</c:v>
                </c:pt>
                <c:pt idx="106">
                  <c:v>0.56364762968651838</c:v>
                </c:pt>
                <c:pt idx="107">
                  <c:v>0.56858723731061944</c:v>
                </c:pt>
                <c:pt idx="108">
                  <c:v>0.56993995671297926</c:v>
                </c:pt>
                <c:pt idx="109">
                  <c:v>0.57072977029951844</c:v>
                </c:pt>
                <c:pt idx="110">
                  <c:v>0.57437338546393923</c:v>
                </c:pt>
                <c:pt idx="111">
                  <c:v>0.57784681980032127</c:v>
                </c:pt>
                <c:pt idx="112">
                  <c:v>0.58085771137331577</c:v>
                </c:pt>
                <c:pt idx="113">
                  <c:v>0.58397332960971882</c:v>
                </c:pt>
                <c:pt idx="114">
                  <c:v>0.58588459121692393</c:v>
                </c:pt>
                <c:pt idx="115">
                  <c:v>0.58676604063394555</c:v>
                </c:pt>
                <c:pt idx="116">
                  <c:v>0.5871674928436782</c:v>
                </c:pt>
                <c:pt idx="117">
                  <c:v>0.58893039167772132</c:v>
                </c:pt>
                <c:pt idx="118">
                  <c:v>0.59078056273127155</c:v>
                </c:pt>
                <c:pt idx="119">
                  <c:v>0.59334636598477986</c:v>
                </c:pt>
                <c:pt idx="120">
                  <c:v>0.59620453117363692</c:v>
                </c:pt>
                <c:pt idx="121">
                  <c:v>0.59772743140403561</c:v>
                </c:pt>
                <c:pt idx="122">
                  <c:v>0.59810706555889148</c:v>
                </c:pt>
                <c:pt idx="123">
                  <c:v>0.59840379110521558</c:v>
                </c:pt>
                <c:pt idx="124">
                  <c:v>0.59934633107589208</c:v>
                </c:pt>
                <c:pt idx="125">
                  <c:v>0.6013448649026043</c:v>
                </c:pt>
                <c:pt idx="126">
                  <c:v>0.60360521538783785</c:v>
                </c:pt>
                <c:pt idx="127">
                  <c:v>0.6060401103120856</c:v>
                </c:pt>
                <c:pt idx="128">
                  <c:v>0.60826555190951637</c:v>
                </c:pt>
                <c:pt idx="129">
                  <c:v>0.60850991412413613</c:v>
                </c:pt>
                <c:pt idx="130">
                  <c:v>0.60909027438385832</c:v>
                </c:pt>
                <c:pt idx="131">
                  <c:v>0.61189607624101117</c:v>
                </c:pt>
                <c:pt idx="132">
                  <c:v>0.6163731411017247</c:v>
                </c:pt>
                <c:pt idx="133">
                  <c:v>0.62048366264050847</c:v>
                </c:pt>
                <c:pt idx="134">
                  <c:v>0.62474254695245424</c:v>
                </c:pt>
                <c:pt idx="135">
                  <c:v>0.62617381135237049</c:v>
                </c:pt>
                <c:pt idx="136">
                  <c:v>0.62732580464986398</c:v>
                </c:pt>
                <c:pt idx="137">
                  <c:v>0.62810689101445238</c:v>
                </c:pt>
                <c:pt idx="138">
                  <c:v>0.62959051874607286</c:v>
                </c:pt>
                <c:pt idx="139">
                  <c:v>0.63392358444459973</c:v>
                </c:pt>
                <c:pt idx="140">
                  <c:v>0.63977082315157452</c:v>
                </c:pt>
                <c:pt idx="141">
                  <c:v>0.64638169377923638</c:v>
                </c:pt>
                <c:pt idx="142">
                  <c:v>0.65109875724359434</c:v>
                </c:pt>
                <c:pt idx="143">
                  <c:v>0.65282674718983469</c:v>
                </c:pt>
                <c:pt idx="144">
                  <c:v>0.65411401242756417</c:v>
                </c:pt>
                <c:pt idx="145">
                  <c:v>0.65853435034559815</c:v>
                </c:pt>
                <c:pt idx="146">
                  <c:v>0.66470013265377381</c:v>
                </c:pt>
                <c:pt idx="147">
                  <c:v>0.67166445577043932</c:v>
                </c:pt>
                <c:pt idx="148">
                  <c:v>0.67936186553096434</c:v>
                </c:pt>
                <c:pt idx="149">
                  <c:v>0.68604255393423186</c:v>
                </c:pt>
                <c:pt idx="150">
                  <c:v>0.6870767297353908</c:v>
                </c:pt>
                <c:pt idx="151">
                  <c:v>0.6877705438804721</c:v>
                </c:pt>
                <c:pt idx="152">
                  <c:v>0.69303305871674947</c:v>
                </c:pt>
                <c:pt idx="153">
                  <c:v>0.69901556936396025</c:v>
                </c:pt>
                <c:pt idx="154">
                  <c:v>0.70536462333310079</c:v>
                </c:pt>
                <c:pt idx="155">
                  <c:v>0.71245549116805151</c:v>
                </c:pt>
                <c:pt idx="156">
                  <c:v>0.7183507295957553</c:v>
                </c:pt>
                <c:pt idx="157">
                  <c:v>0.71994781121273499</c:v>
                </c:pt>
                <c:pt idx="158">
                  <c:v>0.72102125951267215</c:v>
                </c:pt>
                <c:pt idx="159">
                  <c:v>0.72622268379529442</c:v>
                </c:pt>
                <c:pt idx="160">
                  <c:v>0.7332699155204917</c:v>
                </c:pt>
                <c:pt idx="161">
                  <c:v>0.74174841164560512</c:v>
                </c:pt>
                <c:pt idx="162">
                  <c:v>0.74996945472317267</c:v>
                </c:pt>
                <c:pt idx="163">
                  <c:v>0.75621378202890477</c:v>
                </c:pt>
                <c:pt idx="164">
                  <c:v>0.75748359282273281</c:v>
                </c:pt>
                <c:pt idx="165">
                  <c:v>0.75833886057390232</c:v>
                </c:pt>
                <c:pt idx="166">
                  <c:v>0.76263265377365097</c:v>
                </c:pt>
                <c:pt idx="167">
                  <c:v>0.7676682608392098</c:v>
                </c:pt>
                <c:pt idx="168">
                  <c:v>0.77307041122669851</c:v>
                </c:pt>
                <c:pt idx="169">
                  <c:v>0.77837219856175399</c:v>
                </c:pt>
                <c:pt idx="170">
                  <c:v>0.78294089925294996</c:v>
                </c:pt>
                <c:pt idx="171">
                  <c:v>0.7844070725406691</c:v>
                </c:pt>
                <c:pt idx="172">
                  <c:v>0.78512706835160251</c:v>
                </c:pt>
                <c:pt idx="173">
                  <c:v>0.78845650352579788</c:v>
                </c:pt>
                <c:pt idx="174">
                  <c:v>0.79114885149759151</c:v>
                </c:pt>
                <c:pt idx="175">
                  <c:v>0.79373647280597659</c:v>
                </c:pt>
                <c:pt idx="176">
                  <c:v>0.79629354883753423</c:v>
                </c:pt>
                <c:pt idx="177">
                  <c:v>0.79795608461914425</c:v>
                </c:pt>
                <c:pt idx="178">
                  <c:v>0.79820044683376412</c:v>
                </c:pt>
                <c:pt idx="179">
                  <c:v>0.79823099211059156</c:v>
                </c:pt>
                <c:pt idx="180">
                  <c:v>0.79934371290930695</c:v>
                </c:pt>
                <c:pt idx="181">
                  <c:v>0.80084479508482875</c:v>
                </c:pt>
                <c:pt idx="182">
                  <c:v>0.802398240592054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227A-4123-86A8-89323E6F14AF}"/>
            </c:ext>
          </c:extLst>
        </c:ser>
        <c:ser>
          <c:idx val="14"/>
          <c:order val="14"/>
          <c:tx>
            <c:strRef>
              <c:f>List1!$P$1</c:f>
              <c:strCache>
                <c:ptCount val="1"/>
                <c:pt idx="0">
                  <c:v>18 85+</c:v>
                </c:pt>
              </c:strCache>
            </c:strRef>
          </c:tx>
          <c:spPr>
            <a:ln w="28575" cap="rnd">
              <a:solidFill>
                <a:schemeClr val="accent3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P$5:$P$187</c:f>
              <c:numCache>
                <c:formatCode>0.00%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.9632961779531641E-5</c:v>
                </c:pt>
                <c:pt idx="19">
                  <c:v>4.9082404448829105E-5</c:v>
                </c:pt>
                <c:pt idx="20">
                  <c:v>1.0896293787640062E-3</c:v>
                </c:pt>
                <c:pt idx="21">
                  <c:v>1.6148111063664775E-3</c:v>
                </c:pt>
                <c:pt idx="22">
                  <c:v>1.7178841557090186E-3</c:v>
                </c:pt>
                <c:pt idx="23">
                  <c:v>1.9878373801775788E-3</c:v>
                </c:pt>
                <c:pt idx="24">
                  <c:v>2.0025621015122273E-3</c:v>
                </c:pt>
                <c:pt idx="25">
                  <c:v>2.0025621015122273E-3</c:v>
                </c:pt>
                <c:pt idx="26">
                  <c:v>2.0565527464059393E-3</c:v>
                </c:pt>
                <c:pt idx="27">
                  <c:v>2.0712774677405883E-3</c:v>
                </c:pt>
                <c:pt idx="28">
                  <c:v>2.1301763530791832E-3</c:v>
                </c:pt>
                <c:pt idx="29">
                  <c:v>3.1069162016108824E-3</c:v>
                </c:pt>
                <c:pt idx="30">
                  <c:v>4.6137460181899358E-3</c:v>
                </c:pt>
                <c:pt idx="31">
                  <c:v>4.7757179528710716E-3</c:v>
                </c:pt>
                <c:pt idx="32">
                  <c:v>5.0064052537805688E-3</c:v>
                </c:pt>
                <c:pt idx="33">
                  <c:v>6.5132350703596218E-3</c:v>
                </c:pt>
                <c:pt idx="34">
                  <c:v>9.1195107465924484E-3</c:v>
                </c:pt>
                <c:pt idx="35">
                  <c:v>1.2000647887738716E-2</c:v>
                </c:pt>
                <c:pt idx="36">
                  <c:v>1.6840172966393264E-2</c:v>
                </c:pt>
                <c:pt idx="37">
                  <c:v>2.096309494009491E-2</c:v>
                </c:pt>
                <c:pt idx="38">
                  <c:v>2.3294509151414292E-2</c:v>
                </c:pt>
                <c:pt idx="39">
                  <c:v>2.6440691276584237E-2</c:v>
                </c:pt>
                <c:pt idx="40">
                  <c:v>3.4362591354625258E-2</c:v>
                </c:pt>
                <c:pt idx="41">
                  <c:v>4.4905491830233749E-2</c:v>
                </c:pt>
                <c:pt idx="42">
                  <c:v>5.8368795370547573E-2</c:v>
                </c:pt>
                <c:pt idx="43">
                  <c:v>7.6504743814389931E-2</c:v>
                </c:pt>
                <c:pt idx="44">
                  <c:v>9.3452898070570611E-2</c:v>
                </c:pt>
                <c:pt idx="45">
                  <c:v>9.7595453006051797E-2</c:v>
                </c:pt>
                <c:pt idx="46">
                  <c:v>9.9789436484914451E-2</c:v>
                </c:pt>
                <c:pt idx="47">
                  <c:v>0.11120109551926721</c:v>
                </c:pt>
                <c:pt idx="48">
                  <c:v>0.12343243070791543</c:v>
                </c:pt>
                <c:pt idx="49">
                  <c:v>0.13371028619950023</c:v>
                </c:pt>
                <c:pt idx="50">
                  <c:v>0.1435464000510456</c:v>
                </c:pt>
                <c:pt idx="51">
                  <c:v>0.15290150633899244</c:v>
                </c:pt>
                <c:pt idx="52">
                  <c:v>0.15536544304232364</c:v>
                </c:pt>
                <c:pt idx="53">
                  <c:v>0.1573876381056154</c:v>
                </c:pt>
                <c:pt idx="54">
                  <c:v>0.16743480629629073</c:v>
                </c:pt>
                <c:pt idx="55">
                  <c:v>0.17995572767118703</c:v>
                </c:pt>
                <c:pt idx="56">
                  <c:v>0.19025812436499626</c:v>
                </c:pt>
                <c:pt idx="57">
                  <c:v>0.19863158256396651</c:v>
                </c:pt>
                <c:pt idx="58">
                  <c:v>0.20689705947314932</c:v>
                </c:pt>
                <c:pt idx="59">
                  <c:v>0.20788852404301567</c:v>
                </c:pt>
                <c:pt idx="60">
                  <c:v>0.20904686878800804</c:v>
                </c:pt>
                <c:pt idx="61">
                  <c:v>0.21409744820579255</c:v>
                </c:pt>
                <c:pt idx="62">
                  <c:v>0.21928055011558892</c:v>
                </c:pt>
                <c:pt idx="63">
                  <c:v>0.22579869342639342</c:v>
                </c:pt>
                <c:pt idx="64">
                  <c:v>0.23326903538350521</c:v>
                </c:pt>
                <c:pt idx="65">
                  <c:v>0.2411958437019911</c:v>
                </c:pt>
                <c:pt idx="66">
                  <c:v>0.24327202941017656</c:v>
                </c:pt>
                <c:pt idx="67">
                  <c:v>0.2452696832712439</c:v>
                </c:pt>
                <c:pt idx="68">
                  <c:v>0.25329465639862747</c:v>
                </c:pt>
                <c:pt idx="69">
                  <c:v>0.26371975910355877</c:v>
                </c:pt>
                <c:pt idx="70">
                  <c:v>0.27407614644226169</c:v>
                </c:pt>
                <c:pt idx="71">
                  <c:v>0.28437363489562606</c:v>
                </c:pt>
                <c:pt idx="72">
                  <c:v>0.29517176387436844</c:v>
                </c:pt>
                <c:pt idx="73">
                  <c:v>0.2973510226318965</c:v>
                </c:pt>
                <c:pt idx="74">
                  <c:v>0.2989854667000425</c:v>
                </c:pt>
                <c:pt idx="75">
                  <c:v>0.31244386199991142</c:v>
                </c:pt>
                <c:pt idx="76">
                  <c:v>0.3282483962324344</c:v>
                </c:pt>
                <c:pt idx="77">
                  <c:v>0.34239885343503185</c:v>
                </c:pt>
                <c:pt idx="78">
                  <c:v>0.358571505700921</c:v>
                </c:pt>
                <c:pt idx="79">
                  <c:v>0.3745772777916842</c:v>
                </c:pt>
                <c:pt idx="80">
                  <c:v>0.3771884617083619</c:v>
                </c:pt>
                <c:pt idx="81">
                  <c:v>0.37937753694677967</c:v>
                </c:pt>
                <c:pt idx="82">
                  <c:v>0.38890443165029742</c:v>
                </c:pt>
                <c:pt idx="83">
                  <c:v>0.3976607326039685</c:v>
                </c:pt>
                <c:pt idx="84">
                  <c:v>0.40593111775359625</c:v>
                </c:pt>
                <c:pt idx="85">
                  <c:v>0.41466287750504294</c:v>
                </c:pt>
                <c:pt idx="86">
                  <c:v>0.4235713339125054</c:v>
                </c:pt>
                <c:pt idx="87">
                  <c:v>0.42596655524960825</c:v>
                </c:pt>
                <c:pt idx="88">
                  <c:v>0.42752737571108101</c:v>
                </c:pt>
                <c:pt idx="89">
                  <c:v>0.434487260661925</c:v>
                </c:pt>
                <c:pt idx="90">
                  <c:v>0.44040169039800892</c:v>
                </c:pt>
                <c:pt idx="91">
                  <c:v>0.44726831878040008</c:v>
                </c:pt>
                <c:pt idx="92">
                  <c:v>0.45492026563397253</c:v>
                </c:pt>
                <c:pt idx="93">
                  <c:v>0.45706516670838637</c:v>
                </c:pt>
                <c:pt idx="94">
                  <c:v>0.45861617068896937</c:v>
                </c:pt>
                <c:pt idx="95">
                  <c:v>0.45995612033042244</c:v>
                </c:pt>
                <c:pt idx="96">
                  <c:v>0.4610555661900762</c:v>
                </c:pt>
                <c:pt idx="97">
                  <c:v>0.46588527478784098</c:v>
                </c:pt>
                <c:pt idx="98">
                  <c:v>0.46995911435709381</c:v>
                </c:pt>
                <c:pt idx="99">
                  <c:v>0.47432254011259467</c:v>
                </c:pt>
                <c:pt idx="100">
                  <c:v>0.47830803135383965</c:v>
                </c:pt>
                <c:pt idx="101">
                  <c:v>0.4798639435748675</c:v>
                </c:pt>
                <c:pt idx="102">
                  <c:v>0.48073761037405666</c:v>
                </c:pt>
                <c:pt idx="103">
                  <c:v>0.48308865754715558</c:v>
                </c:pt>
                <c:pt idx="104">
                  <c:v>0.48600906061186089</c:v>
                </c:pt>
                <c:pt idx="105">
                  <c:v>0.48865951045209766</c:v>
                </c:pt>
                <c:pt idx="106">
                  <c:v>0.49258610280800402</c:v>
                </c:pt>
                <c:pt idx="107">
                  <c:v>0.4963556314696741</c:v>
                </c:pt>
                <c:pt idx="108">
                  <c:v>0.49687590495683165</c:v>
                </c:pt>
                <c:pt idx="109">
                  <c:v>0.49732746307776088</c:v>
                </c:pt>
                <c:pt idx="110">
                  <c:v>0.49969323497219448</c:v>
                </c:pt>
                <c:pt idx="111">
                  <c:v>0.50182341132527364</c:v>
                </c:pt>
                <c:pt idx="112">
                  <c:v>0.50358056140454177</c:v>
                </c:pt>
                <c:pt idx="113">
                  <c:v>0.50575491192162481</c:v>
                </c:pt>
                <c:pt idx="114">
                  <c:v>0.50716357692930625</c:v>
                </c:pt>
                <c:pt idx="115">
                  <c:v>0.50755623616489687</c:v>
                </c:pt>
                <c:pt idx="116">
                  <c:v>0.50780164818714102</c:v>
                </c:pt>
                <c:pt idx="117">
                  <c:v>0.50892563524901924</c:v>
                </c:pt>
                <c:pt idx="118">
                  <c:v>0.51036865793981478</c:v>
                </c:pt>
                <c:pt idx="119">
                  <c:v>0.51222888106842546</c:v>
                </c:pt>
                <c:pt idx="120">
                  <c:v>0.51471735897398108</c:v>
                </c:pt>
                <c:pt idx="121">
                  <c:v>0.5160082262109853</c:v>
                </c:pt>
                <c:pt idx="122">
                  <c:v>0.51624382175233963</c:v>
                </c:pt>
                <c:pt idx="123">
                  <c:v>0.51645487609146956</c:v>
                </c:pt>
                <c:pt idx="124">
                  <c:v>0.5170978555897493</c:v>
                </c:pt>
                <c:pt idx="125">
                  <c:v>0.51864395132988739</c:v>
                </c:pt>
                <c:pt idx="126">
                  <c:v>0.52029312011936801</c:v>
                </c:pt>
                <c:pt idx="127">
                  <c:v>0.52235948934666376</c:v>
                </c:pt>
                <c:pt idx="128">
                  <c:v>0.524150997109046</c:v>
                </c:pt>
                <c:pt idx="129">
                  <c:v>0.52432769376506183</c:v>
                </c:pt>
                <c:pt idx="130">
                  <c:v>0.52447003273796344</c:v>
                </c:pt>
                <c:pt idx="131">
                  <c:v>0.52674745630438902</c:v>
                </c:pt>
                <c:pt idx="132">
                  <c:v>0.52995253731489755</c:v>
                </c:pt>
                <c:pt idx="133">
                  <c:v>0.53303491231428413</c:v>
                </c:pt>
                <c:pt idx="134">
                  <c:v>0.5364854053470367</c:v>
                </c:pt>
                <c:pt idx="135">
                  <c:v>0.53768792425603307</c:v>
                </c:pt>
                <c:pt idx="136">
                  <c:v>0.53824255542630484</c:v>
                </c:pt>
                <c:pt idx="137">
                  <c:v>0.53872356298990332</c:v>
                </c:pt>
                <c:pt idx="138">
                  <c:v>0.54035800705804937</c:v>
                </c:pt>
                <c:pt idx="139">
                  <c:v>0.54397538026592807</c:v>
                </c:pt>
                <c:pt idx="140">
                  <c:v>0.54833880602142904</c:v>
                </c:pt>
                <c:pt idx="141">
                  <c:v>0.55445938185619803</c:v>
                </c:pt>
                <c:pt idx="142">
                  <c:v>0.5587148263219115</c:v>
                </c:pt>
                <c:pt idx="143">
                  <c:v>0.56009404188692358</c:v>
                </c:pt>
                <c:pt idx="144">
                  <c:v>0.56098243340744736</c:v>
                </c:pt>
                <c:pt idx="145">
                  <c:v>0.56443292644020004</c:v>
                </c:pt>
                <c:pt idx="146">
                  <c:v>0.56876690275303166</c:v>
                </c:pt>
                <c:pt idx="147">
                  <c:v>0.57261496326181982</c:v>
                </c:pt>
                <c:pt idx="148">
                  <c:v>0.57821035736898641</c:v>
                </c:pt>
                <c:pt idx="149">
                  <c:v>0.58221057333156601</c:v>
                </c:pt>
                <c:pt idx="150">
                  <c:v>0.58301061652408182</c:v>
                </c:pt>
                <c:pt idx="151">
                  <c:v>0.58372231138858988</c:v>
                </c:pt>
                <c:pt idx="152">
                  <c:v>0.58785014160273641</c:v>
                </c:pt>
                <c:pt idx="153">
                  <c:v>0.59293998694408001</c:v>
                </c:pt>
                <c:pt idx="154">
                  <c:v>0.59891331556550254</c:v>
                </c:pt>
                <c:pt idx="155">
                  <c:v>0.60556888960876376</c:v>
                </c:pt>
                <c:pt idx="156">
                  <c:v>0.61060965254565847</c:v>
                </c:pt>
                <c:pt idx="157">
                  <c:v>0.61206249171734384</c:v>
                </c:pt>
                <c:pt idx="158">
                  <c:v>0.61308831397032437</c:v>
                </c:pt>
                <c:pt idx="159">
                  <c:v>0.61749100564938431</c:v>
                </c:pt>
                <c:pt idx="160">
                  <c:v>0.62297841846676338</c:v>
                </c:pt>
                <c:pt idx="161">
                  <c:v>0.62960945130780022</c:v>
                </c:pt>
                <c:pt idx="162">
                  <c:v>0.63632883247684491</c:v>
                </c:pt>
                <c:pt idx="163">
                  <c:v>0.64132051300929083</c:v>
                </c:pt>
                <c:pt idx="164">
                  <c:v>0.64268009561252337</c:v>
                </c:pt>
                <c:pt idx="165">
                  <c:v>0.64361756953749605</c:v>
                </c:pt>
                <c:pt idx="166">
                  <c:v>0.64725457570715428</c:v>
                </c:pt>
                <c:pt idx="167">
                  <c:v>0.6515640108177615</c:v>
                </c:pt>
                <c:pt idx="168">
                  <c:v>0.65561330918478988</c:v>
                </c:pt>
                <c:pt idx="169">
                  <c:v>0.66030067880965304</c:v>
                </c:pt>
                <c:pt idx="170">
                  <c:v>0.66397695090287034</c:v>
                </c:pt>
                <c:pt idx="171">
                  <c:v>0.66526781813987457</c:v>
                </c:pt>
                <c:pt idx="172">
                  <c:v>0.66610712725594956</c:v>
                </c:pt>
                <c:pt idx="173">
                  <c:v>0.66899808087798562</c:v>
                </c:pt>
                <c:pt idx="174">
                  <c:v>0.67316517701569112</c:v>
                </c:pt>
                <c:pt idx="175">
                  <c:v>0.6771801176996054</c:v>
                </c:pt>
                <c:pt idx="176">
                  <c:v>0.68150427753154719</c:v>
                </c:pt>
                <c:pt idx="177">
                  <c:v>0.68507747657542195</c:v>
                </c:pt>
                <c:pt idx="178">
                  <c:v>0.6875021473551941</c:v>
                </c:pt>
                <c:pt idx="179">
                  <c:v>0.68965195667005286</c:v>
                </c:pt>
                <c:pt idx="180">
                  <c:v>0.69267543278410071</c:v>
                </c:pt>
                <c:pt idx="181">
                  <c:v>0.69634679663687316</c:v>
                </c:pt>
                <c:pt idx="182">
                  <c:v>0.699949445123417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227A-4123-86A8-89323E6F14AF}"/>
            </c:ext>
          </c:extLst>
        </c:ser>
        <c:ser>
          <c:idx val="15"/>
          <c:order val="15"/>
          <c:tx>
            <c:strRef>
              <c:f>List1!$Q$1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Q$5:$Q$187</c:f>
              <c:numCache>
                <c:formatCode>0.00%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.2329552940020589E-7</c:v>
                </c:pt>
                <c:pt idx="18">
                  <c:v>7.0896330584565372E-5</c:v>
                </c:pt>
                <c:pt idx="19">
                  <c:v>2.6393531575104334E-4</c:v>
                </c:pt>
                <c:pt idx="20">
                  <c:v>5.6504933714722093E-4</c:v>
                </c:pt>
                <c:pt idx="21">
                  <c:v>8.5745483289679061E-4</c:v>
                </c:pt>
                <c:pt idx="22">
                  <c:v>1.0493773404162674E-3</c:v>
                </c:pt>
                <c:pt idx="23">
                  <c:v>1.1647094813514738E-3</c:v>
                </c:pt>
                <c:pt idx="24">
                  <c:v>1.261284797817063E-3</c:v>
                </c:pt>
                <c:pt idx="25">
                  <c:v>1.3576368187532518E-3</c:v>
                </c:pt>
                <c:pt idx="26">
                  <c:v>1.6861045425009547E-3</c:v>
                </c:pt>
                <c:pt idx="27">
                  <c:v>2.1274481563604616E-3</c:v>
                </c:pt>
                <c:pt idx="28">
                  <c:v>2.6284116765698234E-3</c:v>
                </c:pt>
                <c:pt idx="29">
                  <c:v>3.3067834948876489E-3</c:v>
                </c:pt>
                <c:pt idx="30">
                  <c:v>4.1774127640190513E-3</c:v>
                </c:pt>
                <c:pt idx="31">
                  <c:v>4.2982156454245629E-3</c:v>
                </c:pt>
                <c:pt idx="32">
                  <c:v>4.4288435301236837E-3</c:v>
                </c:pt>
                <c:pt idx="33">
                  <c:v>5.3071764950193929E-3</c:v>
                </c:pt>
                <c:pt idx="34">
                  <c:v>6.4412944888430392E-3</c:v>
                </c:pt>
                <c:pt idx="35">
                  <c:v>7.6630559779562657E-3</c:v>
                </c:pt>
                <c:pt idx="36">
                  <c:v>9.1025306082346928E-3</c:v>
                </c:pt>
                <c:pt idx="37">
                  <c:v>1.0286666800643985E-2</c:v>
                </c:pt>
                <c:pt idx="38">
                  <c:v>1.0547252683454024E-2</c:v>
                </c:pt>
                <c:pt idx="39">
                  <c:v>1.0822911014498579E-2</c:v>
                </c:pt>
                <c:pt idx="40">
                  <c:v>1.2086875358668444E-2</c:v>
                </c:pt>
                <c:pt idx="41">
                  <c:v>1.3408449949423563E-2</c:v>
                </c:pt>
                <c:pt idx="42">
                  <c:v>1.4869472598289109E-2</c:v>
                </c:pt>
                <c:pt idx="43">
                  <c:v>1.6662758994902164E-2</c:v>
                </c:pt>
                <c:pt idx="44">
                  <c:v>1.8293374598347168E-2</c:v>
                </c:pt>
                <c:pt idx="45">
                  <c:v>1.8623517038565372E-2</c:v>
                </c:pt>
                <c:pt idx="46">
                  <c:v>1.8775916237381011E-2</c:v>
                </c:pt>
                <c:pt idx="47">
                  <c:v>1.9814017153562569E-2</c:v>
                </c:pt>
                <c:pt idx="48">
                  <c:v>2.0816837376098893E-2</c:v>
                </c:pt>
                <c:pt idx="49">
                  <c:v>2.1729557852522233E-2</c:v>
                </c:pt>
                <c:pt idx="50">
                  <c:v>2.2619725480476156E-2</c:v>
                </c:pt>
                <c:pt idx="51">
                  <c:v>2.3426268932669699E-2</c:v>
                </c:pt>
                <c:pt idx="52">
                  <c:v>2.3556003635251219E-2</c:v>
                </c:pt>
                <c:pt idx="53">
                  <c:v>2.3668321286539524E-2</c:v>
                </c:pt>
                <c:pt idx="54">
                  <c:v>2.4335639976152037E-2</c:v>
                </c:pt>
                <c:pt idx="55">
                  <c:v>2.5108354155641451E-2</c:v>
                </c:pt>
                <c:pt idx="56">
                  <c:v>2.5776789322900968E-2</c:v>
                </c:pt>
                <c:pt idx="57">
                  <c:v>2.6391410267575032E-2</c:v>
                </c:pt>
                <c:pt idx="58">
                  <c:v>2.6983924954838479E-2</c:v>
                </c:pt>
                <c:pt idx="59">
                  <c:v>2.7045107929894136E-2</c:v>
                </c:pt>
                <c:pt idx="60">
                  <c:v>2.710528607506749E-2</c:v>
                </c:pt>
                <c:pt idx="61">
                  <c:v>2.7482432224224439E-2</c:v>
                </c:pt>
                <c:pt idx="62">
                  <c:v>2.7874762469380601E-2</c:v>
                </c:pt>
                <c:pt idx="63">
                  <c:v>2.8373493034295962E-2</c:v>
                </c:pt>
                <c:pt idx="64">
                  <c:v>2.8888859116151636E-2</c:v>
                </c:pt>
                <c:pt idx="65">
                  <c:v>2.9484388293061985E-2</c:v>
                </c:pt>
                <c:pt idx="66">
                  <c:v>2.9576162755645469E-2</c:v>
                </c:pt>
                <c:pt idx="67">
                  <c:v>2.9668383809287754E-2</c:v>
                </c:pt>
                <c:pt idx="68">
                  <c:v>3.0203511545495349E-2</c:v>
                </c:pt>
                <c:pt idx="69">
                  <c:v>3.0908455531811797E-2</c:v>
                </c:pt>
                <c:pt idx="70">
                  <c:v>3.1678266869419006E-2</c:v>
                </c:pt>
                <c:pt idx="71">
                  <c:v>3.2604161782076958E-2</c:v>
                </c:pt>
                <c:pt idx="72">
                  <c:v>3.3535639082969922E-2</c:v>
                </c:pt>
                <c:pt idx="73">
                  <c:v>3.367765503966845E-2</c:v>
                </c:pt>
                <c:pt idx="74">
                  <c:v>3.3803258774956067E-2</c:v>
                </c:pt>
                <c:pt idx="75">
                  <c:v>3.4774929271141064E-2</c:v>
                </c:pt>
                <c:pt idx="76">
                  <c:v>3.5938298979316136E-2</c:v>
                </c:pt>
                <c:pt idx="77">
                  <c:v>3.7102561869608808E-2</c:v>
                </c:pt>
                <c:pt idx="78">
                  <c:v>3.8479178808361075E-2</c:v>
                </c:pt>
                <c:pt idx="79">
                  <c:v>3.9986535279577171E-2</c:v>
                </c:pt>
                <c:pt idx="80">
                  <c:v>4.0209719161212673E-2</c:v>
                </c:pt>
                <c:pt idx="81">
                  <c:v>4.0380093650145034E-2</c:v>
                </c:pt>
                <c:pt idx="82">
                  <c:v>4.1758496953132503E-2</c:v>
                </c:pt>
                <c:pt idx="83">
                  <c:v>4.3234257106938463E-2</c:v>
                </c:pt>
                <c:pt idx="84">
                  <c:v>4.4971942916730866E-2</c:v>
                </c:pt>
                <c:pt idx="85">
                  <c:v>4.6955700399922293E-2</c:v>
                </c:pt>
                <c:pt idx="86">
                  <c:v>4.8896361845939484E-2</c:v>
                </c:pt>
                <c:pt idx="87">
                  <c:v>4.9427246967088473E-2</c:v>
                </c:pt>
                <c:pt idx="88">
                  <c:v>4.9884109620241292E-2</c:v>
                </c:pt>
                <c:pt idx="89">
                  <c:v>5.2172442205534603E-2</c:v>
                </c:pt>
                <c:pt idx="90">
                  <c:v>5.4629362915525066E-2</c:v>
                </c:pt>
                <c:pt idx="91">
                  <c:v>5.7620964770664328E-2</c:v>
                </c:pt>
                <c:pt idx="92">
                  <c:v>6.1164999765539692E-2</c:v>
                </c:pt>
                <c:pt idx="93">
                  <c:v>6.2580916717466406E-2</c:v>
                </c:pt>
                <c:pt idx="94">
                  <c:v>6.3794081328697724E-2</c:v>
                </c:pt>
                <c:pt idx="95">
                  <c:v>6.4768096427941416E-2</c:v>
                </c:pt>
                <c:pt idx="96">
                  <c:v>6.5563140160370847E-2</c:v>
                </c:pt>
                <c:pt idx="97">
                  <c:v>6.8803381587497242E-2</c:v>
                </c:pt>
                <c:pt idx="98">
                  <c:v>7.1254496613723295E-2</c:v>
                </c:pt>
                <c:pt idx="99">
                  <c:v>7.4684762536369256E-2</c:v>
                </c:pt>
                <c:pt idx="100">
                  <c:v>7.8011977572197022E-2</c:v>
                </c:pt>
                <c:pt idx="101">
                  <c:v>7.970310626410948E-2</c:v>
                </c:pt>
                <c:pt idx="102">
                  <c:v>8.0816681069228319E-2</c:v>
                </c:pt>
                <c:pt idx="103">
                  <c:v>8.3565225740615451E-2</c:v>
                </c:pt>
                <c:pt idx="104">
                  <c:v>8.6438480965172593E-2</c:v>
                </c:pt>
                <c:pt idx="105">
                  <c:v>8.9470387663368595E-2</c:v>
                </c:pt>
                <c:pt idx="106">
                  <c:v>9.2313163048162616E-2</c:v>
                </c:pt>
                <c:pt idx="107">
                  <c:v>9.5156385024015439E-2</c:v>
                </c:pt>
                <c:pt idx="108">
                  <c:v>9.6156079109140161E-2</c:v>
                </c:pt>
                <c:pt idx="109">
                  <c:v>9.6706949180170462E-2</c:v>
                </c:pt>
                <c:pt idx="110">
                  <c:v>9.8411252308317529E-2</c:v>
                </c:pt>
                <c:pt idx="111">
                  <c:v>0.10016222420210925</c:v>
                </c:pt>
                <c:pt idx="112">
                  <c:v>0.10172987046626339</c:v>
                </c:pt>
                <c:pt idx="113">
                  <c:v>0.10365144014451687</c:v>
                </c:pt>
                <c:pt idx="114">
                  <c:v>0.10497926701009519</c:v>
                </c:pt>
                <c:pt idx="115">
                  <c:v>0.10555659760135942</c:v>
                </c:pt>
                <c:pt idx="116">
                  <c:v>0.10599872274957182</c:v>
                </c:pt>
                <c:pt idx="117">
                  <c:v>0.10682882388011709</c:v>
                </c:pt>
                <c:pt idx="118">
                  <c:v>0.10817261637604754</c:v>
                </c:pt>
                <c:pt idx="119">
                  <c:v>0.10971369047220306</c:v>
                </c:pt>
                <c:pt idx="120">
                  <c:v>0.11145159957752486</c:v>
                </c:pt>
                <c:pt idx="121">
                  <c:v>0.11253692749817457</c:v>
                </c:pt>
                <c:pt idx="122">
                  <c:v>0.11290715148592011</c:v>
                </c:pt>
                <c:pt idx="123">
                  <c:v>0.11315400469367203</c:v>
                </c:pt>
                <c:pt idx="124">
                  <c:v>0.11370152533176134</c:v>
                </c:pt>
                <c:pt idx="125">
                  <c:v>0.11461067307971427</c:v>
                </c:pt>
                <c:pt idx="126">
                  <c:v>0.11563559955966121</c:v>
                </c:pt>
                <c:pt idx="127">
                  <c:v>0.11679014909442498</c:v>
                </c:pt>
                <c:pt idx="128">
                  <c:v>0.11787067616119258</c:v>
                </c:pt>
                <c:pt idx="129">
                  <c:v>0.11805768616706525</c:v>
                </c:pt>
                <c:pt idx="130">
                  <c:v>0.11818596944870567</c:v>
                </c:pt>
                <c:pt idx="131">
                  <c:v>0.11895153817125427</c:v>
                </c:pt>
                <c:pt idx="132">
                  <c:v>0.12167060783276058</c:v>
                </c:pt>
                <c:pt idx="133">
                  <c:v>0.12425246239145046</c:v>
                </c:pt>
                <c:pt idx="134">
                  <c:v>0.12718667729553387</c:v>
                </c:pt>
                <c:pt idx="135">
                  <c:v>0.12850356268017157</c:v>
                </c:pt>
                <c:pt idx="136">
                  <c:v>0.12949745108153191</c:v>
                </c:pt>
                <c:pt idx="137">
                  <c:v>0.130373774386663</c:v>
                </c:pt>
                <c:pt idx="138">
                  <c:v>0.13128493179438055</c:v>
                </c:pt>
                <c:pt idx="139">
                  <c:v>0.13344040353968073</c:v>
                </c:pt>
                <c:pt idx="140">
                  <c:v>0.13592869727155193</c:v>
                </c:pt>
                <c:pt idx="141">
                  <c:v>0.13970786245888572</c:v>
                </c:pt>
                <c:pt idx="142">
                  <c:v>0.14353380805962884</c:v>
                </c:pt>
                <c:pt idx="143">
                  <c:v>0.14548273144023383</c:v>
                </c:pt>
                <c:pt idx="144">
                  <c:v>0.14697613194086243</c:v>
                </c:pt>
                <c:pt idx="145">
                  <c:v>0.15068495903643514</c:v>
                </c:pt>
                <c:pt idx="146">
                  <c:v>0.15421648948166408</c:v>
                </c:pt>
                <c:pt idx="147">
                  <c:v>0.15800938734405598</c:v>
                </c:pt>
                <c:pt idx="148">
                  <c:v>0.16306033221908864</c:v>
                </c:pt>
                <c:pt idx="149">
                  <c:v>0.16779698863649051</c:v>
                </c:pt>
                <c:pt idx="150">
                  <c:v>0.16980597851450416</c:v>
                </c:pt>
                <c:pt idx="151">
                  <c:v>0.17131690771419064</c:v>
                </c:pt>
                <c:pt idx="152">
                  <c:v>0.1760387149788874</c:v>
                </c:pt>
                <c:pt idx="153">
                  <c:v>0.18332172196580451</c:v>
                </c:pt>
                <c:pt idx="154">
                  <c:v>0.19116855016445716</c:v>
                </c:pt>
                <c:pt idx="155">
                  <c:v>0.19966539164919378</c:v>
                </c:pt>
                <c:pt idx="156">
                  <c:v>0.20773785998030533</c:v>
                </c:pt>
                <c:pt idx="157">
                  <c:v>0.21243499308900338</c:v>
                </c:pt>
                <c:pt idx="158">
                  <c:v>0.2168198473998352</c:v>
                </c:pt>
                <c:pt idx="159">
                  <c:v>0.22481684184200948</c:v>
                </c:pt>
                <c:pt idx="160">
                  <c:v>0.23294781360182387</c:v>
                </c:pt>
                <c:pt idx="161">
                  <c:v>0.2420812706408805</c:v>
                </c:pt>
                <c:pt idx="162">
                  <c:v>0.25208111433400993</c:v>
                </c:pt>
                <c:pt idx="163">
                  <c:v>0.26205896341749341</c:v>
                </c:pt>
                <c:pt idx="164">
                  <c:v>0.26682018234312932</c:v>
                </c:pt>
                <c:pt idx="165">
                  <c:v>0.27131534464548485</c:v>
                </c:pt>
                <c:pt idx="166">
                  <c:v>0.28148143186025271</c:v>
                </c:pt>
                <c:pt idx="167">
                  <c:v>0.29145715963620694</c:v>
                </c:pt>
                <c:pt idx="168">
                  <c:v>0.30198721856389715</c:v>
                </c:pt>
                <c:pt idx="169">
                  <c:v>0.31323818710825591</c:v>
                </c:pt>
                <c:pt idx="170">
                  <c:v>0.32429533513309527</c:v>
                </c:pt>
                <c:pt idx="171">
                  <c:v>0.33007813110573714</c:v>
                </c:pt>
                <c:pt idx="172">
                  <c:v>0.33511378023700589</c:v>
                </c:pt>
                <c:pt idx="173">
                  <c:v>0.34524324698495212</c:v>
                </c:pt>
                <c:pt idx="174">
                  <c:v>0.35907417207600084</c:v>
                </c:pt>
                <c:pt idx="175">
                  <c:v>0.37293859149645964</c:v>
                </c:pt>
                <c:pt idx="176">
                  <c:v>0.38678068136397842</c:v>
                </c:pt>
                <c:pt idx="177">
                  <c:v>0.40041901406091951</c:v>
                </c:pt>
                <c:pt idx="178">
                  <c:v>0.41353092754729959</c:v>
                </c:pt>
                <c:pt idx="179">
                  <c:v>0.42656011004003691</c:v>
                </c:pt>
                <c:pt idx="180">
                  <c:v>0.43998798670051825</c:v>
                </c:pt>
                <c:pt idx="181">
                  <c:v>0.45359137364710822</c:v>
                </c:pt>
                <c:pt idx="182">
                  <c:v>0.466747276352780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0-227A-4123-86A8-89323E6F14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31664431"/>
        <c:axId val="711924943"/>
      </c:lineChart>
      <c:dateAx>
        <c:axId val="83166443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11924943"/>
        <c:crosses val="autoZero"/>
        <c:auto val="1"/>
        <c:lblOffset val="100"/>
        <c:baseTimeUnit val="days"/>
      </c:dateAx>
      <c:valAx>
        <c:axId val="71192494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3166443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91500889513993311"/>
          <c:y val="3.3915582154437109E-2"/>
          <c:w val="6.6587512519335798E-2"/>
          <c:h val="0.8633775324515544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900"/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4 15-19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B$5:$B$187</c:f>
              <c:numCache>
                <c:formatCode>0.00%</c:formatCode>
                <c:ptCount val="183"/>
                <c:pt idx="0">
                  <c:v>2.1395362769073442E-5</c:v>
                </c:pt>
                <c:pt idx="1">
                  <c:v>2.5674435322888131E-5</c:v>
                </c:pt>
                <c:pt idx="2">
                  <c:v>2.7813971599795474E-5</c:v>
                </c:pt>
                <c:pt idx="3">
                  <c:v>2.7813971599795474E-5</c:v>
                </c:pt>
                <c:pt idx="4">
                  <c:v>2.9953507876702817E-5</c:v>
                </c:pt>
                <c:pt idx="5">
                  <c:v>3.6372116707424849E-5</c:v>
                </c:pt>
                <c:pt idx="6">
                  <c:v>5.5627943199590948E-5</c:v>
                </c:pt>
                <c:pt idx="7">
                  <c:v>8.7720987353201104E-5</c:v>
                </c:pt>
                <c:pt idx="8">
                  <c:v>1.2837217661444065E-4</c:v>
                </c:pt>
                <c:pt idx="9">
                  <c:v>1.7330243842949487E-4</c:v>
                </c:pt>
                <c:pt idx="10">
                  <c:v>1.8400011981403161E-4</c:v>
                </c:pt>
                <c:pt idx="11">
                  <c:v>1.8827919236784628E-4</c:v>
                </c:pt>
                <c:pt idx="12">
                  <c:v>2.3534899045980786E-4</c:v>
                </c:pt>
                <c:pt idx="13">
                  <c:v>3.3376765919754568E-4</c:v>
                </c:pt>
                <c:pt idx="14">
                  <c:v>4.1507003772002477E-4</c:v>
                </c:pt>
                <c:pt idx="15">
                  <c:v>5.8195386731879758E-4</c:v>
                </c:pt>
                <c:pt idx="16">
                  <c:v>6.9748882627179416E-4</c:v>
                </c:pt>
                <c:pt idx="17">
                  <c:v>7.081865076563309E-4</c:v>
                </c:pt>
                <c:pt idx="18">
                  <c:v>7.2316326159468231E-4</c:v>
                </c:pt>
                <c:pt idx="19">
                  <c:v>7.7879120479427326E-4</c:v>
                </c:pt>
                <c:pt idx="20">
                  <c:v>8.1302378522479075E-4</c:v>
                </c:pt>
                <c:pt idx="21">
                  <c:v>8.5795404703984497E-4</c:v>
                </c:pt>
                <c:pt idx="22">
                  <c:v>9.2000059907015798E-4</c:v>
                </c:pt>
                <c:pt idx="23">
                  <c:v>9.6279132460830492E-4</c:v>
                </c:pt>
                <c:pt idx="24">
                  <c:v>9.6707039716211959E-4</c:v>
                </c:pt>
                <c:pt idx="25">
                  <c:v>9.6920993343902688E-4</c:v>
                </c:pt>
                <c:pt idx="26">
                  <c:v>9.991634413157298E-4</c:v>
                </c:pt>
                <c:pt idx="27">
                  <c:v>1.0697681384536722E-3</c:v>
                </c:pt>
                <c:pt idx="28">
                  <c:v>1.1168379365456337E-3</c:v>
                </c:pt>
                <c:pt idx="29">
                  <c:v>1.1596286620837806E-3</c:v>
                </c:pt>
                <c:pt idx="30">
                  <c:v>1.1810240248528541E-3</c:v>
                </c:pt>
                <c:pt idx="31">
                  <c:v>1.1810240248528541E-3</c:v>
                </c:pt>
                <c:pt idx="32">
                  <c:v>1.1831635611297612E-3</c:v>
                </c:pt>
                <c:pt idx="33">
                  <c:v>1.193861242514298E-3</c:v>
                </c:pt>
                <c:pt idx="34">
                  <c:v>1.2088379964526495E-3</c:v>
                </c:pt>
                <c:pt idx="35">
                  <c:v>1.2280938229448156E-3</c:v>
                </c:pt>
                <c:pt idx="36">
                  <c:v>1.2473496494369817E-3</c:v>
                </c:pt>
                <c:pt idx="37">
                  <c:v>1.2687450122060551E-3</c:v>
                </c:pt>
                <c:pt idx="38">
                  <c:v>1.2687450122060551E-3</c:v>
                </c:pt>
                <c:pt idx="39">
                  <c:v>1.2708845484829625E-3</c:v>
                </c:pt>
                <c:pt idx="40">
                  <c:v>1.2837217661444064E-3</c:v>
                </c:pt>
                <c:pt idx="41">
                  <c:v>1.3158148102980166E-3</c:v>
                </c:pt>
                <c:pt idx="42">
                  <c:v>1.3307915642363681E-3</c:v>
                </c:pt>
                <c:pt idx="43">
                  <c:v>1.3714427534976077E-3</c:v>
                </c:pt>
                <c:pt idx="44">
                  <c:v>1.4056753339281251E-3</c:v>
                </c:pt>
                <c:pt idx="45">
                  <c:v>1.4206520878664766E-3</c:v>
                </c:pt>
                <c:pt idx="46">
                  <c:v>1.4206520878664766E-3</c:v>
                </c:pt>
                <c:pt idx="47">
                  <c:v>1.4356288418048279E-3</c:v>
                </c:pt>
                <c:pt idx="48">
                  <c:v>1.47414049478916E-3</c:v>
                </c:pt>
                <c:pt idx="49">
                  <c:v>1.4976753938351409E-3</c:v>
                </c:pt>
                <c:pt idx="50">
                  <c:v>1.5426056556501952E-3</c:v>
                </c:pt>
                <c:pt idx="51">
                  <c:v>1.6025126714036008E-3</c:v>
                </c:pt>
                <c:pt idx="52">
                  <c:v>1.6132103527881376E-3</c:v>
                </c:pt>
                <c:pt idx="53">
                  <c:v>1.6153498890650448E-3</c:v>
                </c:pt>
                <c:pt idx="54">
                  <c:v>1.647442933218655E-3</c:v>
                </c:pt>
                <c:pt idx="55">
                  <c:v>1.6731173685415432E-3</c:v>
                </c:pt>
                <c:pt idx="56">
                  <c:v>1.7415825294025782E-3</c:v>
                </c:pt>
                <c:pt idx="57">
                  <c:v>1.8143267628174279E-3</c:v>
                </c:pt>
                <c:pt idx="58">
                  <c:v>1.9940478100776448E-3</c:v>
                </c:pt>
                <c:pt idx="59">
                  <c:v>2.0967455513691974E-3</c:v>
                </c:pt>
                <c:pt idx="60">
                  <c:v>2.1053036964768265E-3</c:v>
                </c:pt>
                <c:pt idx="61">
                  <c:v>2.1609316396764178E-3</c:v>
                </c:pt>
                <c:pt idx="62">
                  <c:v>2.2080014377683791E-3</c:v>
                </c:pt>
                <c:pt idx="63">
                  <c:v>2.2593503084141556E-3</c:v>
                </c:pt>
                <c:pt idx="64">
                  <c:v>2.3149782516137464E-3</c:v>
                </c:pt>
                <c:pt idx="65">
                  <c:v>2.3920015575824107E-3</c:v>
                </c:pt>
                <c:pt idx="66">
                  <c:v>2.4390713556743725E-3</c:v>
                </c:pt>
                <c:pt idx="67">
                  <c:v>2.4818620812125194E-3</c:v>
                </c:pt>
                <c:pt idx="68">
                  <c:v>2.5353504881352028E-3</c:v>
                </c:pt>
                <c:pt idx="69">
                  <c:v>2.7621413334873814E-3</c:v>
                </c:pt>
                <c:pt idx="70">
                  <c:v>2.8883739738249144E-3</c:v>
                </c:pt>
                <c:pt idx="71">
                  <c:v>2.991071715116467E-3</c:v>
                </c:pt>
                <c:pt idx="72">
                  <c:v>3.12586250056163E-3</c:v>
                </c:pt>
                <c:pt idx="73">
                  <c:v>3.1836299800381282E-3</c:v>
                </c:pt>
                <c:pt idx="74">
                  <c:v>3.2264207055762752E-3</c:v>
                </c:pt>
                <c:pt idx="75">
                  <c:v>3.4960022764666003E-3</c:v>
                </c:pt>
                <c:pt idx="76">
                  <c:v>3.6200953805272263E-3</c:v>
                </c:pt>
                <c:pt idx="77">
                  <c:v>3.8019559640643506E-3</c:v>
                </c:pt>
                <c:pt idx="78">
                  <c:v>3.9025141690789958E-3</c:v>
                </c:pt>
                <c:pt idx="79">
                  <c:v>4.2191655380612826E-3</c:v>
                </c:pt>
                <c:pt idx="80">
                  <c:v>4.3539563235064456E-3</c:v>
                </c:pt>
                <c:pt idx="81">
                  <c:v>4.4010261215984073E-3</c:v>
                </c:pt>
                <c:pt idx="82">
                  <c:v>4.4716308187363494E-3</c:v>
                </c:pt>
                <c:pt idx="83">
                  <c:v>4.5743285600279016E-3</c:v>
                </c:pt>
                <c:pt idx="84">
                  <c:v>4.6727472287656398E-3</c:v>
                </c:pt>
                <c:pt idx="85">
                  <c:v>4.824654304426061E-3</c:v>
                </c:pt>
                <c:pt idx="86">
                  <c:v>5.0728405125473131E-3</c:v>
                </c:pt>
                <c:pt idx="87">
                  <c:v>5.1070730929778305E-3</c:v>
                </c:pt>
                <c:pt idx="88">
                  <c:v>5.1284684557469044E-3</c:v>
                </c:pt>
                <c:pt idx="89">
                  <c:v>5.1990731528848465E-3</c:v>
                </c:pt>
                <c:pt idx="90">
                  <c:v>5.2867941402380478E-3</c:v>
                </c:pt>
                <c:pt idx="91">
                  <c:v>5.3959104903603221E-3</c:v>
                </c:pt>
                <c:pt idx="92">
                  <c:v>5.4943291590980594E-3</c:v>
                </c:pt>
                <c:pt idx="93">
                  <c:v>5.5328408120823916E-3</c:v>
                </c:pt>
                <c:pt idx="94">
                  <c:v>5.5499571022976507E-3</c:v>
                </c:pt>
                <c:pt idx="95">
                  <c:v>5.5649338562360024E-3</c:v>
                </c:pt>
                <c:pt idx="96">
                  <c:v>5.5841896827281681E-3</c:v>
                </c:pt>
                <c:pt idx="97">
                  <c:v>5.6355385533739446E-3</c:v>
                </c:pt>
                <c:pt idx="98">
                  <c:v>5.7360967583885893E-3</c:v>
                </c:pt>
                <c:pt idx="99">
                  <c:v>5.8815852252182893E-3</c:v>
                </c:pt>
                <c:pt idx="100">
                  <c:v>6.0784225626937648E-3</c:v>
                </c:pt>
                <c:pt idx="101">
                  <c:v>6.13832957844717E-3</c:v>
                </c:pt>
                <c:pt idx="102">
                  <c:v>6.2046552030312983E-3</c:v>
                </c:pt>
                <c:pt idx="103">
                  <c:v>6.3736785689069786E-3</c:v>
                </c:pt>
                <c:pt idx="104">
                  <c:v>6.5234461082904925E-3</c:v>
                </c:pt>
                <c:pt idx="105">
                  <c:v>6.660376430012562E-3</c:v>
                </c:pt>
                <c:pt idx="106">
                  <c:v>6.8893068116416484E-3</c:v>
                </c:pt>
                <c:pt idx="107">
                  <c:v>7.1096790481631044E-3</c:v>
                </c:pt>
                <c:pt idx="108">
                  <c:v>7.1867023541317687E-3</c:v>
                </c:pt>
                <c:pt idx="109">
                  <c:v>7.2401907610544526E-3</c:v>
                </c:pt>
                <c:pt idx="110">
                  <c:v>7.4990746505602416E-3</c:v>
                </c:pt>
                <c:pt idx="111">
                  <c:v>7.6488421899437555E-3</c:v>
                </c:pt>
                <c:pt idx="112">
                  <c:v>7.909865615726451E-3</c:v>
                </c:pt>
                <c:pt idx="113">
                  <c:v>8.2586100288623478E-3</c:v>
                </c:pt>
                <c:pt idx="114">
                  <c:v>8.6373079498749481E-3</c:v>
                </c:pt>
                <c:pt idx="115">
                  <c:v>8.8277266785197015E-3</c:v>
                </c:pt>
                <c:pt idx="116">
                  <c:v>8.9240058109805332E-3</c:v>
                </c:pt>
                <c:pt idx="117">
                  <c:v>9.1743315553786918E-3</c:v>
                </c:pt>
                <c:pt idx="118">
                  <c:v>9.3947037919001487E-3</c:v>
                </c:pt>
                <c:pt idx="119">
                  <c:v>9.6557272176828451E-3</c:v>
                </c:pt>
                <c:pt idx="120">
                  <c:v>9.8953552806964676E-3</c:v>
                </c:pt>
                <c:pt idx="121">
                  <c:v>1.0259076447770715E-2</c:v>
                </c:pt>
                <c:pt idx="122">
                  <c:v>1.0348936971400824E-2</c:v>
                </c:pt>
                <c:pt idx="123">
                  <c:v>1.046447193035382E-2</c:v>
                </c:pt>
                <c:pt idx="124">
                  <c:v>1.0751169791459405E-2</c:v>
                </c:pt>
                <c:pt idx="125">
                  <c:v>1.1050704870226432E-2</c:v>
                </c:pt>
                <c:pt idx="126">
                  <c:v>1.1472193516777179E-2</c:v>
                </c:pt>
                <c:pt idx="127">
                  <c:v>1.1803821639697818E-2</c:v>
                </c:pt>
                <c:pt idx="128">
                  <c:v>1.2310891737324858E-2</c:v>
                </c:pt>
                <c:pt idx="129">
                  <c:v>1.2499170929692705E-2</c:v>
                </c:pt>
                <c:pt idx="130">
                  <c:v>1.2612566352368794E-2</c:v>
                </c:pt>
                <c:pt idx="131">
                  <c:v>1.2942054939012525E-2</c:v>
                </c:pt>
                <c:pt idx="132">
                  <c:v>1.3352845904178736E-2</c:v>
                </c:pt>
                <c:pt idx="133">
                  <c:v>1.3763636869344944E-2</c:v>
                </c:pt>
                <c:pt idx="134">
                  <c:v>1.4174427834511154E-2</c:v>
                </c:pt>
                <c:pt idx="135">
                  <c:v>1.4585218799677365E-2</c:v>
                </c:pt>
                <c:pt idx="136">
                  <c:v>1.4996009764843575E-2</c:v>
                </c:pt>
                <c:pt idx="137">
                  <c:v>1.5406800730009785E-2</c:v>
                </c:pt>
                <c:pt idx="138">
                  <c:v>1.5817591695175996E-2</c:v>
                </c:pt>
                <c:pt idx="139">
                  <c:v>1.6228382660342204E-2</c:v>
                </c:pt>
                <c:pt idx="140">
                  <c:v>1.6639173625508416E-2</c:v>
                </c:pt>
                <c:pt idx="141">
                  <c:v>1.7049964590674625E-2</c:v>
                </c:pt>
                <c:pt idx="142">
                  <c:v>1.7460755555840837E-2</c:v>
                </c:pt>
                <c:pt idx="143">
                  <c:v>1.7871546521007045E-2</c:v>
                </c:pt>
                <c:pt idx="144">
                  <c:v>1.8282337486173257E-2</c:v>
                </c:pt>
                <c:pt idx="145">
                  <c:v>1.8693128451339466E-2</c:v>
                </c:pt>
                <c:pt idx="146">
                  <c:v>1.9103919416505678E-2</c:v>
                </c:pt>
                <c:pt idx="147">
                  <c:v>1.9514710381671886E-2</c:v>
                </c:pt>
                <c:pt idx="148">
                  <c:v>1.9925501346838095E-2</c:v>
                </c:pt>
                <c:pt idx="149">
                  <c:v>2.0336292312004307E-2</c:v>
                </c:pt>
                <c:pt idx="150">
                  <c:v>2.0747083277170515E-2</c:v>
                </c:pt>
                <c:pt idx="151">
                  <c:v>2.1157874242336727E-2</c:v>
                </c:pt>
                <c:pt idx="152">
                  <c:v>2.1568665207502936E-2</c:v>
                </c:pt>
                <c:pt idx="153">
                  <c:v>3.2846160923081548E-2</c:v>
                </c:pt>
                <c:pt idx="154">
                  <c:v>4.4123656638660157E-2</c:v>
                </c:pt>
                <c:pt idx="155">
                  <c:v>5.5401152354238772E-2</c:v>
                </c:pt>
                <c:pt idx="156">
                  <c:v>6.6678648069817381E-2</c:v>
                </c:pt>
                <c:pt idx="157">
                  <c:v>7.795614378539599E-2</c:v>
                </c:pt>
                <c:pt idx="158">
                  <c:v>8.9233639500974599E-2</c:v>
                </c:pt>
                <c:pt idx="159">
                  <c:v>0.10051113521655322</c:v>
                </c:pt>
                <c:pt idx="160">
                  <c:v>0.11178863093213183</c:v>
                </c:pt>
                <c:pt idx="161">
                  <c:v>0.12306612664771044</c:v>
                </c:pt>
                <c:pt idx="162">
                  <c:v>0.13434362236328906</c:v>
                </c:pt>
                <c:pt idx="163">
                  <c:v>0.14562111807886766</c:v>
                </c:pt>
                <c:pt idx="164">
                  <c:v>0.15689861379444628</c:v>
                </c:pt>
                <c:pt idx="165">
                  <c:v>0.16817610951002487</c:v>
                </c:pt>
                <c:pt idx="166">
                  <c:v>0.1794536052256035</c:v>
                </c:pt>
                <c:pt idx="167">
                  <c:v>0.19073110094118209</c:v>
                </c:pt>
                <c:pt idx="168">
                  <c:v>0.20200859665676071</c:v>
                </c:pt>
                <c:pt idx="169">
                  <c:v>0.21328609237233934</c:v>
                </c:pt>
                <c:pt idx="170">
                  <c:v>0.22456358808791793</c:v>
                </c:pt>
                <c:pt idx="171">
                  <c:v>0.23584108380349655</c:v>
                </c:pt>
                <c:pt idx="172">
                  <c:v>0.24711857951907515</c:v>
                </c:pt>
                <c:pt idx="173">
                  <c:v>0.25839607523465374</c:v>
                </c:pt>
                <c:pt idx="174">
                  <c:v>0.26967357095023237</c:v>
                </c:pt>
                <c:pt idx="175">
                  <c:v>0.28095106666581099</c:v>
                </c:pt>
                <c:pt idx="176">
                  <c:v>0.29222856238138961</c:v>
                </c:pt>
                <c:pt idx="177">
                  <c:v>0.30350605809696823</c:v>
                </c:pt>
                <c:pt idx="178">
                  <c:v>0.3147835538125468</c:v>
                </c:pt>
                <c:pt idx="179">
                  <c:v>0.32606104952812542</c:v>
                </c:pt>
                <c:pt idx="180">
                  <c:v>0.33733854524370405</c:v>
                </c:pt>
                <c:pt idx="181">
                  <c:v>0.34861604095928267</c:v>
                </c:pt>
                <c:pt idx="182">
                  <c:v>0.359893536674861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267-42C6-AC42-927B0F02AEC7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5 20-24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C$5:$C$187</c:f>
              <c:numCache>
                <c:formatCode>0.00%</c:formatCode>
                <c:ptCount val="183"/>
                <c:pt idx="0">
                  <c:v>6.5660409182819075E-4</c:v>
                </c:pt>
                <c:pt idx="1">
                  <c:v>7.4093856233823361E-4</c:v>
                </c:pt>
                <c:pt idx="2">
                  <c:v>7.5097838025609584E-4</c:v>
                </c:pt>
                <c:pt idx="3">
                  <c:v>8.1724117851398671E-4</c:v>
                </c:pt>
                <c:pt idx="4">
                  <c:v>8.6944823168687031E-4</c:v>
                </c:pt>
                <c:pt idx="5">
                  <c:v>1.0441410634576733E-3</c:v>
                </c:pt>
                <c:pt idx="6">
                  <c:v>1.2770648391520775E-3</c:v>
                </c:pt>
                <c:pt idx="7">
                  <c:v>1.5682195587700825E-3</c:v>
                </c:pt>
                <c:pt idx="8">
                  <c:v>2.0099715471560212E-3</c:v>
                </c:pt>
                <c:pt idx="9">
                  <c:v>2.5722013505563067E-3</c:v>
                </c:pt>
                <c:pt idx="10">
                  <c:v>2.6645676754006396E-3</c:v>
                </c:pt>
                <c:pt idx="11">
                  <c:v>2.7709897453299793E-3</c:v>
                </c:pt>
                <c:pt idx="12">
                  <c:v>3.4456655094103222E-3</c:v>
                </c:pt>
                <c:pt idx="13">
                  <c:v>4.2408190885050122E-3</c:v>
                </c:pt>
                <c:pt idx="14">
                  <c:v>4.9355744884210795E-3</c:v>
                </c:pt>
                <c:pt idx="15">
                  <c:v>5.6945847230114649E-3</c:v>
                </c:pt>
                <c:pt idx="16">
                  <c:v>6.3813082685932419E-3</c:v>
                </c:pt>
                <c:pt idx="17">
                  <c:v>6.5017860836075895E-3</c:v>
                </c:pt>
                <c:pt idx="18">
                  <c:v>6.5720648090326246E-3</c:v>
                </c:pt>
                <c:pt idx="19">
                  <c:v>6.9897212344156943E-3</c:v>
                </c:pt>
                <c:pt idx="20">
                  <c:v>7.3250511528722929E-3</c:v>
                </c:pt>
                <c:pt idx="21">
                  <c:v>7.6884925614989063E-3</c:v>
                </c:pt>
                <c:pt idx="22">
                  <c:v>7.989687099034774E-3</c:v>
                </c:pt>
                <c:pt idx="23">
                  <c:v>8.33907276257638E-3</c:v>
                </c:pt>
                <c:pt idx="24">
                  <c:v>8.3752161070806842E-3</c:v>
                </c:pt>
                <c:pt idx="25">
                  <c:v>8.3993116700835525E-3</c:v>
                </c:pt>
                <c:pt idx="26">
                  <c:v>8.6744026810329795E-3</c:v>
                </c:pt>
                <c:pt idx="27">
                  <c:v>9.0117405630731496E-3</c:v>
                </c:pt>
                <c:pt idx="28">
                  <c:v>9.2526961931018448E-3</c:v>
                </c:pt>
                <c:pt idx="29">
                  <c:v>9.4474686607083722E-3</c:v>
                </c:pt>
                <c:pt idx="30">
                  <c:v>9.5840101843912978E-3</c:v>
                </c:pt>
                <c:pt idx="31">
                  <c:v>9.5860181479748702E-3</c:v>
                </c:pt>
                <c:pt idx="32">
                  <c:v>9.5880261115584425E-3</c:v>
                </c:pt>
                <c:pt idx="33">
                  <c:v>9.6944481814877827E-3</c:v>
                </c:pt>
                <c:pt idx="34">
                  <c:v>9.8028782150006953E-3</c:v>
                </c:pt>
                <c:pt idx="35">
                  <c:v>9.899260467012172E-3</c:v>
                </c:pt>
                <c:pt idx="36">
                  <c:v>9.9936347554400781E-3</c:v>
                </c:pt>
                <c:pt idx="37">
                  <c:v>1.0108088679703708E-2</c:v>
                </c:pt>
                <c:pt idx="38">
                  <c:v>1.011009664328728E-2</c:v>
                </c:pt>
                <c:pt idx="39">
                  <c:v>1.0124152388372287E-2</c:v>
                </c:pt>
                <c:pt idx="40">
                  <c:v>1.0208486858882329E-2</c:v>
                </c:pt>
                <c:pt idx="41">
                  <c:v>1.0304869110893808E-2</c:v>
                </c:pt>
                <c:pt idx="42">
                  <c:v>1.0449442488911024E-2</c:v>
                </c:pt>
                <c:pt idx="43">
                  <c:v>1.0636183102183261E-2</c:v>
                </c:pt>
                <c:pt idx="44">
                  <c:v>1.0808867970370492E-2</c:v>
                </c:pt>
                <c:pt idx="45">
                  <c:v>1.0885170586546245E-2</c:v>
                </c:pt>
                <c:pt idx="46">
                  <c:v>1.0911274113132688E-2</c:v>
                </c:pt>
                <c:pt idx="47">
                  <c:v>1.1114078435073504E-2</c:v>
                </c:pt>
                <c:pt idx="48">
                  <c:v>1.1310858866263604E-2</c:v>
                </c:pt>
                <c:pt idx="49">
                  <c:v>1.1583941913629457E-2</c:v>
                </c:pt>
                <c:pt idx="50">
                  <c:v>1.1842969215910304E-2</c:v>
                </c:pt>
                <c:pt idx="51">
                  <c:v>1.218432302511762E-2</c:v>
                </c:pt>
                <c:pt idx="52">
                  <c:v>1.224255396904122E-2</c:v>
                </c:pt>
                <c:pt idx="53">
                  <c:v>1.2248577859791937E-2</c:v>
                </c:pt>
                <c:pt idx="54">
                  <c:v>1.249555738057135E-2</c:v>
                </c:pt>
                <c:pt idx="55">
                  <c:v>1.2818839517526513E-2</c:v>
                </c:pt>
                <c:pt idx="56">
                  <c:v>1.3268623360246742E-2</c:v>
                </c:pt>
                <c:pt idx="57">
                  <c:v>1.3740494802386267E-2</c:v>
                </c:pt>
                <c:pt idx="58">
                  <c:v>1.4212366244525793E-2</c:v>
                </c:pt>
                <c:pt idx="59">
                  <c:v>1.4272605152032967E-2</c:v>
                </c:pt>
                <c:pt idx="60">
                  <c:v>1.4326820168789422E-2</c:v>
                </c:pt>
                <c:pt idx="61">
                  <c:v>1.4740460667005347E-2</c:v>
                </c:pt>
                <c:pt idx="62">
                  <c:v>1.5326786033408502E-2</c:v>
                </c:pt>
                <c:pt idx="63">
                  <c:v>1.5903071581893795E-2</c:v>
                </c:pt>
                <c:pt idx="64">
                  <c:v>1.6346831533863307E-2</c:v>
                </c:pt>
                <c:pt idx="65">
                  <c:v>1.6903037446512875E-2</c:v>
                </c:pt>
                <c:pt idx="66">
                  <c:v>1.714600104012514E-2</c:v>
                </c:pt>
                <c:pt idx="67">
                  <c:v>1.7453219468411725E-2</c:v>
                </c:pt>
                <c:pt idx="68">
                  <c:v>1.7971274072973418E-2</c:v>
                </c:pt>
                <c:pt idx="69">
                  <c:v>1.8529487949206558E-2</c:v>
                </c:pt>
                <c:pt idx="70">
                  <c:v>1.9414999889562006E-2</c:v>
                </c:pt>
                <c:pt idx="71">
                  <c:v>2.0439061317183958E-2</c:v>
                </c:pt>
                <c:pt idx="72">
                  <c:v>2.1396859946548014E-2</c:v>
                </c:pt>
                <c:pt idx="73">
                  <c:v>2.1786404881761069E-2</c:v>
                </c:pt>
                <c:pt idx="74">
                  <c:v>2.2137798508886249E-2</c:v>
                </c:pt>
                <c:pt idx="75">
                  <c:v>2.2746211474708702E-2</c:v>
                </c:pt>
                <c:pt idx="76">
                  <c:v>2.3531325235885529E-2</c:v>
                </c:pt>
                <c:pt idx="77">
                  <c:v>2.428029565255805E-2</c:v>
                </c:pt>
                <c:pt idx="78">
                  <c:v>2.4958987343805538E-2</c:v>
                </c:pt>
                <c:pt idx="79">
                  <c:v>2.5681854233891622E-2</c:v>
                </c:pt>
                <c:pt idx="80">
                  <c:v>2.6045295642518233E-2</c:v>
                </c:pt>
                <c:pt idx="81">
                  <c:v>2.6207940692787601E-2</c:v>
                </c:pt>
                <c:pt idx="82">
                  <c:v>2.6659732499091402E-2</c:v>
                </c:pt>
                <c:pt idx="83">
                  <c:v>2.7219954338908114E-2</c:v>
                </c:pt>
                <c:pt idx="84">
                  <c:v>2.7838407122648429E-2</c:v>
                </c:pt>
                <c:pt idx="85">
                  <c:v>2.8426740452635157E-2</c:v>
                </c:pt>
                <c:pt idx="86">
                  <c:v>2.9153623269888383E-2</c:v>
                </c:pt>
                <c:pt idx="87">
                  <c:v>2.9322292210908471E-2</c:v>
                </c:pt>
                <c:pt idx="88">
                  <c:v>2.9466865588925688E-2</c:v>
                </c:pt>
                <c:pt idx="89">
                  <c:v>2.9830306997552299E-2</c:v>
                </c:pt>
                <c:pt idx="90">
                  <c:v>3.0332297893445413E-2</c:v>
                </c:pt>
                <c:pt idx="91">
                  <c:v>3.084031268008924E-2</c:v>
                </c:pt>
                <c:pt idx="92">
                  <c:v>3.1416598228574531E-2</c:v>
                </c:pt>
                <c:pt idx="93">
                  <c:v>3.159129106034534E-2</c:v>
                </c:pt>
                <c:pt idx="94">
                  <c:v>3.1707752948192537E-2</c:v>
                </c:pt>
                <c:pt idx="95">
                  <c:v>3.1761967964948998E-2</c:v>
                </c:pt>
                <c:pt idx="96">
                  <c:v>3.1804135200204017E-2</c:v>
                </c:pt>
                <c:pt idx="97">
                  <c:v>3.2041074903065563E-2</c:v>
                </c:pt>
                <c:pt idx="98">
                  <c:v>3.2434635765445766E-2</c:v>
                </c:pt>
                <c:pt idx="99">
                  <c:v>3.3175574327784001E-2</c:v>
                </c:pt>
                <c:pt idx="100">
                  <c:v>3.4049038486638011E-2</c:v>
                </c:pt>
                <c:pt idx="101">
                  <c:v>3.4322121534003866E-2</c:v>
                </c:pt>
                <c:pt idx="102">
                  <c:v>3.4528941783111833E-2</c:v>
                </c:pt>
                <c:pt idx="103">
                  <c:v>3.5145386603268575E-2</c:v>
                </c:pt>
                <c:pt idx="104">
                  <c:v>3.5729704006088152E-2</c:v>
                </c:pt>
                <c:pt idx="105">
                  <c:v>3.6277878064403433E-2</c:v>
                </c:pt>
                <c:pt idx="106">
                  <c:v>3.7225636875849628E-2</c:v>
                </c:pt>
                <c:pt idx="107">
                  <c:v>3.8185443468797257E-2</c:v>
                </c:pt>
                <c:pt idx="108">
                  <c:v>3.8635227311517487E-2</c:v>
                </c:pt>
                <c:pt idx="109">
                  <c:v>3.9034812064648407E-2</c:v>
                </c:pt>
                <c:pt idx="110">
                  <c:v>4.0068913310188213E-2</c:v>
                </c:pt>
                <c:pt idx="111">
                  <c:v>4.0902218197370784E-2</c:v>
                </c:pt>
                <c:pt idx="112">
                  <c:v>4.1755602720389071E-2</c:v>
                </c:pt>
                <c:pt idx="113">
                  <c:v>4.2739504876339575E-2</c:v>
                </c:pt>
                <c:pt idx="114">
                  <c:v>4.4068776768664532E-2</c:v>
                </c:pt>
                <c:pt idx="115">
                  <c:v>4.4570767664557649E-2</c:v>
                </c:pt>
                <c:pt idx="116">
                  <c:v>4.4833810894005635E-2</c:v>
                </c:pt>
                <c:pt idx="117">
                  <c:v>4.5645028181768903E-2</c:v>
                </c:pt>
                <c:pt idx="118">
                  <c:v>4.6325727836599967E-2</c:v>
                </c:pt>
                <c:pt idx="119">
                  <c:v>4.709879381627536E-2</c:v>
                </c:pt>
                <c:pt idx="120">
                  <c:v>4.7889931468202904E-2</c:v>
                </c:pt>
                <c:pt idx="121">
                  <c:v>4.9094709618346374E-2</c:v>
                </c:pt>
                <c:pt idx="122">
                  <c:v>4.9401928046632959E-2</c:v>
                </c:pt>
                <c:pt idx="123">
                  <c:v>4.9737257965089557E-2</c:v>
                </c:pt>
                <c:pt idx="124">
                  <c:v>5.0550483216436397E-2</c:v>
                </c:pt>
                <c:pt idx="125">
                  <c:v>5.134965272269823E-2</c:v>
                </c:pt>
                <c:pt idx="126">
                  <c:v>5.2309459315645866E-2</c:v>
                </c:pt>
                <c:pt idx="127">
                  <c:v>5.3407815395859995E-2</c:v>
                </c:pt>
                <c:pt idx="128">
                  <c:v>5.4827445649445715E-2</c:v>
                </c:pt>
                <c:pt idx="129">
                  <c:v>5.5319396727420964E-2</c:v>
                </c:pt>
                <c:pt idx="130">
                  <c:v>5.5718981480551884E-2</c:v>
                </c:pt>
                <c:pt idx="131">
                  <c:v>5.6550278404150875E-2</c:v>
                </c:pt>
                <c:pt idx="132">
                  <c:v>5.7690801719620023E-2</c:v>
                </c:pt>
                <c:pt idx="133">
                  <c:v>5.8831325035089178E-2</c:v>
                </c:pt>
                <c:pt idx="134">
                  <c:v>5.9971848350558327E-2</c:v>
                </c:pt>
                <c:pt idx="135">
                  <c:v>6.1112371666027482E-2</c:v>
                </c:pt>
                <c:pt idx="136">
                  <c:v>6.225289498149663E-2</c:v>
                </c:pt>
                <c:pt idx="137">
                  <c:v>6.3393418296965778E-2</c:v>
                </c:pt>
                <c:pt idx="138">
                  <c:v>6.4533941612434934E-2</c:v>
                </c:pt>
                <c:pt idx="139">
                  <c:v>6.5674464927904089E-2</c:v>
                </c:pt>
                <c:pt idx="140">
                  <c:v>6.681498824337323E-2</c:v>
                </c:pt>
                <c:pt idx="141">
                  <c:v>6.7955511558842385E-2</c:v>
                </c:pt>
                <c:pt idx="142">
                  <c:v>6.909603487431154E-2</c:v>
                </c:pt>
                <c:pt idx="143">
                  <c:v>7.0236558189780682E-2</c:v>
                </c:pt>
                <c:pt idx="144">
                  <c:v>7.1377081505249837E-2</c:v>
                </c:pt>
                <c:pt idx="145">
                  <c:v>7.2517604820718992E-2</c:v>
                </c:pt>
                <c:pt idx="146">
                  <c:v>7.3658128136188133E-2</c:v>
                </c:pt>
                <c:pt idx="147">
                  <c:v>7.4798651451657289E-2</c:v>
                </c:pt>
                <c:pt idx="148">
                  <c:v>7.5939174767126444E-2</c:v>
                </c:pt>
                <c:pt idx="149">
                  <c:v>7.7079698082595585E-2</c:v>
                </c:pt>
                <c:pt idx="150">
                  <c:v>7.822022139806474E-2</c:v>
                </c:pt>
                <c:pt idx="151">
                  <c:v>7.9360744713533896E-2</c:v>
                </c:pt>
                <c:pt idx="152">
                  <c:v>8.0501268029003051E-2</c:v>
                </c:pt>
                <c:pt idx="153">
                  <c:v>9.1777991514345916E-2</c:v>
                </c:pt>
                <c:pt idx="154">
                  <c:v>0.1030547149996888</c:v>
                </c:pt>
                <c:pt idx="155">
                  <c:v>0.11433143848503166</c:v>
                </c:pt>
                <c:pt idx="156">
                  <c:v>0.12560816197037453</c:v>
                </c:pt>
                <c:pt idx="157">
                  <c:v>0.13688488545571742</c:v>
                </c:pt>
                <c:pt idx="158">
                  <c:v>0.14816160894106029</c:v>
                </c:pt>
                <c:pt idx="159">
                  <c:v>0.15943833242640315</c:v>
                </c:pt>
                <c:pt idx="160">
                  <c:v>0.17071505591174602</c:v>
                </c:pt>
                <c:pt idx="161">
                  <c:v>0.18199177939708891</c:v>
                </c:pt>
                <c:pt idx="162">
                  <c:v>0.19326850288243178</c:v>
                </c:pt>
                <c:pt idx="163">
                  <c:v>0.20454522636777464</c:v>
                </c:pt>
                <c:pt idx="164">
                  <c:v>0.21582194985311751</c:v>
                </c:pt>
                <c:pt idx="165">
                  <c:v>0.2270986733384604</c:v>
                </c:pt>
                <c:pt idx="166">
                  <c:v>0.23837539682380327</c:v>
                </c:pt>
                <c:pt idx="167">
                  <c:v>0.24965212030914613</c:v>
                </c:pt>
                <c:pt idx="168">
                  <c:v>0.260928843794489</c:v>
                </c:pt>
                <c:pt idx="169">
                  <c:v>0.27220556727983186</c:v>
                </c:pt>
                <c:pt idx="170">
                  <c:v>0.28348229076517473</c:v>
                </c:pt>
                <c:pt idx="171">
                  <c:v>0.29475901425051765</c:v>
                </c:pt>
                <c:pt idx="172">
                  <c:v>0.30603573773586051</c:v>
                </c:pt>
                <c:pt idx="173">
                  <c:v>0.31731246122120338</c:v>
                </c:pt>
                <c:pt idx="174">
                  <c:v>0.32858918470654624</c:v>
                </c:pt>
                <c:pt idx="175">
                  <c:v>0.33986590819188911</c:v>
                </c:pt>
                <c:pt idx="176">
                  <c:v>0.35114263167723198</c:v>
                </c:pt>
                <c:pt idx="177">
                  <c:v>0.36241935516257484</c:v>
                </c:pt>
                <c:pt idx="178">
                  <c:v>0.37369607864791771</c:v>
                </c:pt>
                <c:pt idx="179">
                  <c:v>0.38497280213326063</c:v>
                </c:pt>
                <c:pt idx="180">
                  <c:v>0.39624952561860349</c:v>
                </c:pt>
                <c:pt idx="181">
                  <c:v>0.40752624910394636</c:v>
                </c:pt>
                <c:pt idx="182">
                  <c:v>0.418802972589289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267-42C6-AC42-927B0F02AEC7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6 25-29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D$5:$D$187</c:f>
              <c:numCache>
                <c:formatCode>0.00%</c:formatCode>
                <c:ptCount val="183"/>
                <c:pt idx="0">
                  <c:v>1.3662652079219468E-3</c:v>
                </c:pt>
                <c:pt idx="1">
                  <c:v>1.5292005554750016E-3</c:v>
                </c:pt>
                <c:pt idx="2">
                  <c:v>1.5516228510098257E-3</c:v>
                </c:pt>
                <c:pt idx="3">
                  <c:v>1.7310012152884182E-3</c:v>
                </c:pt>
                <c:pt idx="4">
                  <c:v>1.8431126929625387E-3</c:v>
                </c:pt>
                <c:pt idx="5">
                  <c:v>2.2422295534824071E-3</c:v>
                </c:pt>
                <c:pt idx="6">
                  <c:v>2.7818594660205063E-3</c:v>
                </c:pt>
                <c:pt idx="7">
                  <c:v>3.4799402670046956E-3</c:v>
                </c:pt>
                <c:pt idx="8">
                  <c:v>4.393275105123196E-3</c:v>
                </c:pt>
                <c:pt idx="9">
                  <c:v>5.3962991253809931E-3</c:v>
                </c:pt>
                <c:pt idx="10">
                  <c:v>5.5487707350177964E-3</c:v>
                </c:pt>
                <c:pt idx="11">
                  <c:v>5.6907786067383493E-3</c:v>
                </c:pt>
                <c:pt idx="12">
                  <c:v>6.7207093816379349E-3</c:v>
                </c:pt>
                <c:pt idx="13">
                  <c:v>7.7536297959421635E-3</c:v>
                </c:pt>
                <c:pt idx="14">
                  <c:v>8.7192833236419201E-3</c:v>
                </c:pt>
                <c:pt idx="15">
                  <c:v>9.6894213104486426E-3</c:v>
                </c:pt>
                <c:pt idx="16">
                  <c:v>1.0584818312139282E-2</c:v>
                </c:pt>
                <c:pt idx="17">
                  <c:v>1.0690950511004117E-2</c:v>
                </c:pt>
                <c:pt idx="18">
                  <c:v>1.0773165594631805E-2</c:v>
                </c:pt>
                <c:pt idx="19">
                  <c:v>1.1288878391932759E-2</c:v>
                </c:pt>
                <c:pt idx="20">
                  <c:v>1.1679026334238698E-2</c:v>
                </c:pt>
                <c:pt idx="21">
                  <c:v>1.2099070670591069E-2</c:v>
                </c:pt>
                <c:pt idx="22">
                  <c:v>1.2577412975333982E-2</c:v>
                </c:pt>
                <c:pt idx="23">
                  <c:v>1.2982509114663136E-2</c:v>
                </c:pt>
                <c:pt idx="24">
                  <c:v>1.3030343345137429E-2</c:v>
                </c:pt>
                <c:pt idx="25">
                  <c:v>1.3039312263351359E-2</c:v>
                </c:pt>
                <c:pt idx="26">
                  <c:v>1.3293431612746031E-2</c:v>
                </c:pt>
                <c:pt idx="27">
                  <c:v>1.3593890372912674E-2</c:v>
                </c:pt>
                <c:pt idx="28">
                  <c:v>1.3822597787367878E-2</c:v>
                </c:pt>
                <c:pt idx="29">
                  <c:v>1.4015429528967366E-2</c:v>
                </c:pt>
                <c:pt idx="30">
                  <c:v>1.4155942580985598E-2</c:v>
                </c:pt>
                <c:pt idx="31">
                  <c:v>1.4163416679497205E-2</c:v>
                </c:pt>
                <c:pt idx="32">
                  <c:v>1.4175375237115777E-2</c:v>
                </c:pt>
                <c:pt idx="33">
                  <c:v>1.4296455633003828E-2</c:v>
                </c:pt>
                <c:pt idx="34">
                  <c:v>1.4441453144129023E-2</c:v>
                </c:pt>
                <c:pt idx="35">
                  <c:v>1.4562533540017073E-2</c:v>
                </c:pt>
                <c:pt idx="36">
                  <c:v>1.4686603575309766E-2</c:v>
                </c:pt>
                <c:pt idx="37">
                  <c:v>1.4809178790900138E-2</c:v>
                </c:pt>
                <c:pt idx="38">
                  <c:v>1.4812168430304782E-2</c:v>
                </c:pt>
                <c:pt idx="39">
                  <c:v>1.4818147709114068E-2</c:v>
                </c:pt>
                <c:pt idx="40">
                  <c:v>1.4925774727681224E-2</c:v>
                </c:pt>
                <c:pt idx="41">
                  <c:v>1.5058813681187846E-2</c:v>
                </c:pt>
                <c:pt idx="42">
                  <c:v>1.519334745439679E-2</c:v>
                </c:pt>
                <c:pt idx="43">
                  <c:v>1.538916883540092E-2</c:v>
                </c:pt>
                <c:pt idx="44">
                  <c:v>1.5579010937595764E-2</c:v>
                </c:pt>
                <c:pt idx="45">
                  <c:v>1.5619371069558447E-2</c:v>
                </c:pt>
                <c:pt idx="46">
                  <c:v>1.5640298545390952E-2</c:v>
                </c:pt>
                <c:pt idx="47">
                  <c:v>1.5874985238655444E-2</c:v>
                </c:pt>
                <c:pt idx="48">
                  <c:v>1.6145547604775653E-2</c:v>
                </c:pt>
                <c:pt idx="49">
                  <c:v>1.6493840595416587E-2</c:v>
                </c:pt>
                <c:pt idx="50">
                  <c:v>1.6767392600941441E-2</c:v>
                </c:pt>
                <c:pt idx="51">
                  <c:v>1.713960270681952E-2</c:v>
                </c:pt>
                <c:pt idx="52">
                  <c:v>1.7206869593423994E-2</c:v>
                </c:pt>
                <c:pt idx="53">
                  <c:v>1.7223312610149529E-2</c:v>
                </c:pt>
                <c:pt idx="54">
                  <c:v>1.7604491634241538E-2</c:v>
                </c:pt>
                <c:pt idx="55">
                  <c:v>1.8085823578389094E-2</c:v>
                </c:pt>
                <c:pt idx="56">
                  <c:v>1.8559681424025046E-2</c:v>
                </c:pt>
                <c:pt idx="57">
                  <c:v>1.9132197370014221E-2</c:v>
                </c:pt>
                <c:pt idx="58">
                  <c:v>1.9734609710049825E-2</c:v>
                </c:pt>
                <c:pt idx="59">
                  <c:v>1.9819814433082159E-2</c:v>
                </c:pt>
                <c:pt idx="60">
                  <c:v>1.990651397581681E-2</c:v>
                </c:pt>
                <c:pt idx="61">
                  <c:v>2.0507431496150096E-2</c:v>
                </c:pt>
                <c:pt idx="62">
                  <c:v>2.1266799904929471E-2</c:v>
                </c:pt>
                <c:pt idx="63">
                  <c:v>2.2129310873169036E-2</c:v>
                </c:pt>
                <c:pt idx="64">
                  <c:v>2.2818422755939295E-2</c:v>
                </c:pt>
                <c:pt idx="65">
                  <c:v>2.3488101982579376E-2</c:v>
                </c:pt>
                <c:pt idx="66">
                  <c:v>2.3790055562448339E-2</c:v>
                </c:pt>
                <c:pt idx="67">
                  <c:v>2.4097988421126589E-2</c:v>
                </c:pt>
                <c:pt idx="68">
                  <c:v>2.4755709090148095E-2</c:v>
                </c:pt>
                <c:pt idx="69">
                  <c:v>2.557785992642498E-2</c:v>
                </c:pt>
                <c:pt idx="70">
                  <c:v>2.6452329452283117E-2</c:v>
                </c:pt>
                <c:pt idx="71">
                  <c:v>2.7446384554326984E-2</c:v>
                </c:pt>
                <c:pt idx="72">
                  <c:v>2.8352245293933875E-2</c:v>
                </c:pt>
                <c:pt idx="73">
                  <c:v>2.8627292119161051E-2</c:v>
                </c:pt>
                <c:pt idx="74">
                  <c:v>2.8835072057783757E-2</c:v>
                </c:pt>
                <c:pt idx="75">
                  <c:v>2.948083416918669E-2</c:v>
                </c:pt>
                <c:pt idx="76">
                  <c:v>3.0379220810281972E-2</c:v>
                </c:pt>
                <c:pt idx="77">
                  <c:v>3.1143073678168313E-2</c:v>
                </c:pt>
                <c:pt idx="78">
                  <c:v>3.1896462808138404E-2</c:v>
                </c:pt>
                <c:pt idx="79">
                  <c:v>3.2687222430666532E-2</c:v>
                </c:pt>
                <c:pt idx="80">
                  <c:v>3.3016082765177285E-2</c:v>
                </c:pt>
                <c:pt idx="81">
                  <c:v>3.3222367884097666E-2</c:v>
                </c:pt>
                <c:pt idx="82">
                  <c:v>3.3670813794794148E-2</c:v>
                </c:pt>
                <c:pt idx="83">
                  <c:v>3.4271731315127431E-2</c:v>
                </c:pt>
                <c:pt idx="84">
                  <c:v>3.4893576311293223E-2</c:v>
                </c:pt>
                <c:pt idx="85">
                  <c:v>3.5591657112277408E-2</c:v>
                </c:pt>
                <c:pt idx="86">
                  <c:v>3.6340561783140532E-2</c:v>
                </c:pt>
                <c:pt idx="87">
                  <c:v>3.6539372803549304E-2</c:v>
                </c:pt>
                <c:pt idx="88">
                  <c:v>3.6676896216162894E-2</c:v>
                </c:pt>
                <c:pt idx="89">
                  <c:v>3.7052095961445618E-2</c:v>
                </c:pt>
                <c:pt idx="90">
                  <c:v>3.7606674071006929E-2</c:v>
                </c:pt>
                <c:pt idx="91">
                  <c:v>3.8201612312530928E-2</c:v>
                </c:pt>
                <c:pt idx="92">
                  <c:v>3.8887734555896544E-2</c:v>
                </c:pt>
                <c:pt idx="93">
                  <c:v>3.9111957511244785E-2</c:v>
                </c:pt>
                <c:pt idx="94">
                  <c:v>3.9243501645049091E-2</c:v>
                </c:pt>
                <c:pt idx="95">
                  <c:v>3.9303294433141955E-2</c:v>
                </c:pt>
                <c:pt idx="96">
                  <c:v>3.9358602762127853E-2</c:v>
                </c:pt>
                <c:pt idx="97">
                  <c:v>3.9639628866164317E-2</c:v>
                </c:pt>
                <c:pt idx="98">
                  <c:v>4.0041735366088828E-2</c:v>
                </c:pt>
                <c:pt idx="99">
                  <c:v>4.0841463906830883E-2</c:v>
                </c:pt>
                <c:pt idx="100">
                  <c:v>4.1955104585060479E-2</c:v>
                </c:pt>
                <c:pt idx="101">
                  <c:v>4.2292933837785165E-2</c:v>
                </c:pt>
                <c:pt idx="102">
                  <c:v>4.2541073908370551E-2</c:v>
                </c:pt>
                <c:pt idx="103">
                  <c:v>4.3180856740964196E-2</c:v>
                </c:pt>
                <c:pt idx="104">
                  <c:v>4.3796722458320697E-2</c:v>
                </c:pt>
                <c:pt idx="105">
                  <c:v>4.4466401684960778E-2</c:v>
                </c:pt>
                <c:pt idx="106">
                  <c:v>4.5488858361348757E-2</c:v>
                </c:pt>
                <c:pt idx="107">
                  <c:v>4.662940579422014E-2</c:v>
                </c:pt>
                <c:pt idx="108">
                  <c:v>4.7154087509735022E-2</c:v>
                </c:pt>
                <c:pt idx="109">
                  <c:v>4.7701191520784732E-2</c:v>
                </c:pt>
                <c:pt idx="110">
                  <c:v>4.8765503148837715E-2</c:v>
                </c:pt>
                <c:pt idx="111">
                  <c:v>4.9708734381002644E-2</c:v>
                </c:pt>
                <c:pt idx="112">
                  <c:v>5.0625058858525786E-2</c:v>
                </c:pt>
                <c:pt idx="113">
                  <c:v>5.177607002931342E-2</c:v>
                </c:pt>
                <c:pt idx="114">
                  <c:v>5.3353104815262717E-2</c:v>
                </c:pt>
                <c:pt idx="115">
                  <c:v>5.3952527515893682E-2</c:v>
                </c:pt>
                <c:pt idx="116">
                  <c:v>5.4314273883855506E-2</c:v>
                </c:pt>
                <c:pt idx="117">
                  <c:v>5.5227608721974006E-2</c:v>
                </c:pt>
                <c:pt idx="118">
                  <c:v>5.5969039294325527E-2</c:v>
                </c:pt>
                <c:pt idx="119">
                  <c:v>5.6859951836909201E-2</c:v>
                </c:pt>
                <c:pt idx="120">
                  <c:v>5.7738905821874305E-2</c:v>
                </c:pt>
                <c:pt idx="121">
                  <c:v>5.8922803026113017E-2</c:v>
                </c:pt>
                <c:pt idx="122">
                  <c:v>5.9238209983302877E-2</c:v>
                </c:pt>
                <c:pt idx="123">
                  <c:v>5.9535679104064876E-2</c:v>
                </c:pt>
                <c:pt idx="124">
                  <c:v>6.040117971170908E-2</c:v>
                </c:pt>
                <c:pt idx="125">
                  <c:v>6.1372812518218127E-2</c:v>
                </c:pt>
                <c:pt idx="126">
                  <c:v>6.2452072343294328E-2</c:v>
                </c:pt>
                <c:pt idx="127">
                  <c:v>6.3718184631160718E-2</c:v>
                </c:pt>
                <c:pt idx="128">
                  <c:v>6.5271302301872877E-2</c:v>
                </c:pt>
                <c:pt idx="129">
                  <c:v>6.5930517790596693E-2</c:v>
                </c:pt>
                <c:pt idx="130">
                  <c:v>6.6446230587897656E-2</c:v>
                </c:pt>
                <c:pt idx="131">
                  <c:v>6.7676467202908333E-2</c:v>
                </c:pt>
                <c:pt idx="132">
                  <c:v>6.9015825656188495E-2</c:v>
                </c:pt>
                <c:pt idx="133">
                  <c:v>7.0355184109468644E-2</c:v>
                </c:pt>
                <c:pt idx="134">
                  <c:v>7.1694542562748806E-2</c:v>
                </c:pt>
                <c:pt idx="135">
                  <c:v>7.3033901016028968E-2</c:v>
                </c:pt>
                <c:pt idx="136">
                  <c:v>7.4373259469309116E-2</c:v>
                </c:pt>
                <c:pt idx="137">
                  <c:v>7.5712617922589279E-2</c:v>
                </c:pt>
                <c:pt idx="138">
                  <c:v>7.7051976375869441E-2</c:v>
                </c:pt>
                <c:pt idx="139">
                  <c:v>7.8391334829149589E-2</c:v>
                </c:pt>
                <c:pt idx="140">
                  <c:v>7.9730693282429752E-2</c:v>
                </c:pt>
                <c:pt idx="141">
                  <c:v>8.1070051735709914E-2</c:v>
                </c:pt>
                <c:pt idx="142">
                  <c:v>8.2409410188990076E-2</c:v>
                </c:pt>
                <c:pt idx="143">
                  <c:v>8.3748768642270224E-2</c:v>
                </c:pt>
                <c:pt idx="144">
                  <c:v>8.5088127095550387E-2</c:v>
                </c:pt>
                <c:pt idx="145">
                  <c:v>8.6427485548830549E-2</c:v>
                </c:pt>
                <c:pt idx="146">
                  <c:v>8.7766844002110697E-2</c:v>
                </c:pt>
                <c:pt idx="147">
                  <c:v>8.9106202455390859E-2</c:v>
                </c:pt>
                <c:pt idx="148">
                  <c:v>9.0445560908671022E-2</c:v>
                </c:pt>
                <c:pt idx="149">
                  <c:v>9.178491936195117E-2</c:v>
                </c:pt>
                <c:pt idx="150">
                  <c:v>9.3124277815231332E-2</c:v>
                </c:pt>
                <c:pt idx="151">
                  <c:v>9.4463636268511494E-2</c:v>
                </c:pt>
                <c:pt idx="152">
                  <c:v>9.5802994721791643E-2</c:v>
                </c:pt>
                <c:pt idx="153">
                  <c:v>0.10707991455610584</c:v>
                </c:pt>
                <c:pt idx="154">
                  <c:v>0.11835683439042002</c:v>
                </c:pt>
                <c:pt idx="155">
                  <c:v>0.12963375422473419</c:v>
                </c:pt>
                <c:pt idx="156">
                  <c:v>0.14091067405904839</c:v>
                </c:pt>
                <c:pt idx="157">
                  <c:v>0.15218759389336259</c:v>
                </c:pt>
                <c:pt idx="158">
                  <c:v>0.16346451372767676</c:v>
                </c:pt>
                <c:pt idx="159">
                  <c:v>0.17474143356199096</c:v>
                </c:pt>
                <c:pt idx="160">
                  <c:v>0.18601835339630513</c:v>
                </c:pt>
                <c:pt idx="161">
                  <c:v>0.19729527323061932</c:v>
                </c:pt>
                <c:pt idx="162">
                  <c:v>0.20857219306493352</c:v>
                </c:pt>
                <c:pt idx="163">
                  <c:v>0.21984911289924769</c:v>
                </c:pt>
                <c:pt idx="164">
                  <c:v>0.23112603273356189</c:v>
                </c:pt>
                <c:pt idx="165">
                  <c:v>0.24240295256787606</c:v>
                </c:pt>
                <c:pt idx="166">
                  <c:v>0.25367987240219025</c:v>
                </c:pt>
                <c:pt idx="167">
                  <c:v>0.26495679223650442</c:v>
                </c:pt>
                <c:pt idx="168">
                  <c:v>0.27623371207081865</c:v>
                </c:pt>
                <c:pt idx="169">
                  <c:v>0.28751063190513282</c:v>
                </c:pt>
                <c:pt idx="170">
                  <c:v>0.29878755173944699</c:v>
                </c:pt>
                <c:pt idx="171">
                  <c:v>0.31006447157376116</c:v>
                </c:pt>
                <c:pt idx="172">
                  <c:v>0.32134139140807538</c:v>
                </c:pt>
                <c:pt idx="173">
                  <c:v>0.33261831124238955</c:v>
                </c:pt>
                <c:pt idx="174">
                  <c:v>0.34389523107670372</c:v>
                </c:pt>
                <c:pt idx="175">
                  <c:v>0.35517215091101795</c:v>
                </c:pt>
                <c:pt idx="176">
                  <c:v>0.36644907074533212</c:v>
                </c:pt>
                <c:pt idx="177">
                  <c:v>0.37772599057964629</c:v>
                </c:pt>
                <c:pt idx="178">
                  <c:v>0.38900291041396051</c:v>
                </c:pt>
                <c:pt idx="179">
                  <c:v>0.40027983024827468</c:v>
                </c:pt>
                <c:pt idx="180">
                  <c:v>0.41155675008258885</c:v>
                </c:pt>
                <c:pt idx="181">
                  <c:v>0.42283366991690302</c:v>
                </c:pt>
                <c:pt idx="182">
                  <c:v>0.434110589751217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267-42C6-AC42-927B0F02AEC7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7 30-34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E$5:$E$187</c:f>
              <c:numCache>
                <c:formatCode>0.00%</c:formatCode>
                <c:ptCount val="183"/>
                <c:pt idx="0">
                  <c:v>1.1955471041422189E-3</c:v>
                </c:pt>
                <c:pt idx="1">
                  <c:v>1.3430944399475447E-3</c:v>
                </c:pt>
                <c:pt idx="2">
                  <c:v>1.3665365400287646E-3</c:v>
                </c:pt>
                <c:pt idx="3">
                  <c:v>1.5085680875796858E-3</c:v>
                </c:pt>
                <c:pt idx="4">
                  <c:v>1.6257785879857855E-3</c:v>
                </c:pt>
                <c:pt idx="5">
                  <c:v>2.021536395239323E-3</c:v>
                </c:pt>
                <c:pt idx="6">
                  <c:v>2.5234731263901506E-3</c:v>
                </c:pt>
                <c:pt idx="7">
                  <c:v>3.1274519402474652E-3</c:v>
                </c:pt>
                <c:pt idx="8">
                  <c:v>3.9051780841185281E-3</c:v>
                </c:pt>
                <c:pt idx="9">
                  <c:v>4.8166620931589053E-3</c:v>
                </c:pt>
                <c:pt idx="10">
                  <c:v>4.968346270155034E-3</c:v>
                </c:pt>
                <c:pt idx="11">
                  <c:v>5.1214093942147645E-3</c:v>
                </c:pt>
                <c:pt idx="12">
                  <c:v>6.0328934032551412E-3</c:v>
                </c:pt>
                <c:pt idx="13">
                  <c:v>7.1746615719169146E-3</c:v>
                </c:pt>
                <c:pt idx="14">
                  <c:v>8.2295560755718134E-3</c:v>
                </c:pt>
                <c:pt idx="15">
                  <c:v>9.2982400498627243E-3</c:v>
                </c:pt>
                <c:pt idx="16">
                  <c:v>1.0270397729701553E-2</c:v>
                </c:pt>
                <c:pt idx="17">
                  <c:v>1.0390366124234855E-2</c:v>
                </c:pt>
                <c:pt idx="18">
                  <c:v>1.0462071371542116E-2</c:v>
                </c:pt>
                <c:pt idx="19">
                  <c:v>1.106467123833583E-2</c:v>
                </c:pt>
                <c:pt idx="20">
                  <c:v>1.1573502704804664E-2</c:v>
                </c:pt>
                <c:pt idx="21">
                  <c:v>1.2042344706429063E-2</c:v>
                </c:pt>
                <c:pt idx="22">
                  <c:v>1.2518081443371468E-2</c:v>
                </c:pt>
                <c:pt idx="23">
                  <c:v>1.2944176086024231E-2</c:v>
                </c:pt>
                <c:pt idx="24">
                  <c:v>1.2999333968568278E-2</c:v>
                </c:pt>
                <c:pt idx="25">
                  <c:v>1.3014502386267892E-2</c:v>
                </c:pt>
                <c:pt idx="26">
                  <c:v>1.3304081269624138E-2</c:v>
                </c:pt>
                <c:pt idx="27">
                  <c:v>1.3553670688135951E-2</c:v>
                </c:pt>
                <c:pt idx="28">
                  <c:v>1.382256536553818E-2</c:v>
                </c:pt>
                <c:pt idx="29">
                  <c:v>1.4028028478014756E-2</c:v>
                </c:pt>
                <c:pt idx="30">
                  <c:v>1.4160407396120468E-2</c:v>
                </c:pt>
                <c:pt idx="31">
                  <c:v>1.4171438972629277E-2</c:v>
                </c:pt>
                <c:pt idx="32">
                  <c:v>1.4176954760883683E-2</c:v>
                </c:pt>
                <c:pt idx="33">
                  <c:v>1.4320365255498204E-2</c:v>
                </c:pt>
                <c:pt idx="34">
                  <c:v>1.4438954702967905E-2</c:v>
                </c:pt>
                <c:pt idx="35">
                  <c:v>1.4586502038773231E-2</c:v>
                </c:pt>
                <c:pt idx="36">
                  <c:v>1.4699575697988528E-2</c:v>
                </c:pt>
                <c:pt idx="37">
                  <c:v>1.4841607245539448E-2</c:v>
                </c:pt>
                <c:pt idx="38">
                  <c:v>1.4844365139666651E-2</c:v>
                </c:pt>
                <c:pt idx="39">
                  <c:v>1.4847123033793853E-2</c:v>
                </c:pt>
                <c:pt idx="40">
                  <c:v>1.4969849322454359E-2</c:v>
                </c:pt>
                <c:pt idx="41">
                  <c:v>1.5117396658259683E-2</c:v>
                </c:pt>
                <c:pt idx="42">
                  <c:v>1.5299417670655039E-2</c:v>
                </c:pt>
                <c:pt idx="43">
                  <c:v>1.5514533412576822E-2</c:v>
                </c:pt>
                <c:pt idx="44">
                  <c:v>1.5707586001480988E-2</c:v>
                </c:pt>
                <c:pt idx="45">
                  <c:v>1.5750333360452624E-2</c:v>
                </c:pt>
                <c:pt idx="46">
                  <c:v>1.5766880725215836E-2</c:v>
                </c:pt>
                <c:pt idx="47">
                  <c:v>1.6001301726028035E-2</c:v>
                </c:pt>
                <c:pt idx="48">
                  <c:v>1.6235722726840238E-2</c:v>
                </c:pt>
                <c:pt idx="49">
                  <c:v>1.6552880551468509E-2</c:v>
                </c:pt>
                <c:pt idx="50">
                  <c:v>1.6879691005541986E-2</c:v>
                </c:pt>
                <c:pt idx="51">
                  <c:v>1.7252006712714305E-2</c:v>
                </c:pt>
                <c:pt idx="52">
                  <c:v>1.7326469854148766E-2</c:v>
                </c:pt>
                <c:pt idx="53">
                  <c:v>1.7354048795420789E-2</c:v>
                </c:pt>
                <c:pt idx="54">
                  <c:v>1.7718090820211502E-2</c:v>
                </c:pt>
                <c:pt idx="55">
                  <c:v>1.8226922286680335E-2</c:v>
                </c:pt>
                <c:pt idx="56">
                  <c:v>1.8812974788710832E-2</c:v>
                </c:pt>
                <c:pt idx="57">
                  <c:v>1.9455564120348982E-2</c:v>
                </c:pt>
                <c:pt idx="58">
                  <c:v>2.0047132410633883E-2</c:v>
                </c:pt>
                <c:pt idx="59">
                  <c:v>2.0140900810958765E-2</c:v>
                </c:pt>
                <c:pt idx="60">
                  <c:v>2.023880605247445E-2</c:v>
                </c:pt>
                <c:pt idx="61">
                  <c:v>2.0933795372529439E-2</c:v>
                </c:pt>
                <c:pt idx="62">
                  <c:v>2.1765300451880951E-2</c:v>
                </c:pt>
                <c:pt idx="63">
                  <c:v>2.2662994990285314E-2</c:v>
                </c:pt>
                <c:pt idx="64">
                  <c:v>2.3369015886849115E-2</c:v>
                </c:pt>
                <c:pt idx="65">
                  <c:v>2.4171563077864999E-2</c:v>
                </c:pt>
                <c:pt idx="66">
                  <c:v>2.4491478796620472E-2</c:v>
                </c:pt>
                <c:pt idx="67">
                  <c:v>2.4790710309421926E-2</c:v>
                </c:pt>
                <c:pt idx="68">
                  <c:v>2.5532583829639358E-2</c:v>
                </c:pt>
                <c:pt idx="69">
                  <c:v>2.6380636273754084E-2</c:v>
                </c:pt>
                <c:pt idx="70">
                  <c:v>2.7293499229858062E-2</c:v>
                </c:pt>
                <c:pt idx="71">
                  <c:v>2.8440783186774239E-2</c:v>
                </c:pt>
                <c:pt idx="72">
                  <c:v>2.932468825454259E-2</c:v>
                </c:pt>
                <c:pt idx="73">
                  <c:v>2.9610130296708035E-2</c:v>
                </c:pt>
                <c:pt idx="74">
                  <c:v>2.9834898668075028E-2</c:v>
                </c:pt>
                <c:pt idx="75">
                  <c:v>3.0477487999713174E-2</c:v>
                </c:pt>
                <c:pt idx="76">
                  <c:v>3.1473087779633223E-2</c:v>
                </c:pt>
                <c:pt idx="77">
                  <c:v>3.2304592858984731E-2</c:v>
                </c:pt>
                <c:pt idx="78">
                  <c:v>3.3060255849838176E-2</c:v>
                </c:pt>
                <c:pt idx="79">
                  <c:v>3.385315041140885E-2</c:v>
                </c:pt>
                <c:pt idx="80">
                  <c:v>3.4217192436199563E-2</c:v>
                </c:pt>
                <c:pt idx="81">
                  <c:v>3.4410245025103724E-2</c:v>
                </c:pt>
                <c:pt idx="82">
                  <c:v>3.4906665968000149E-2</c:v>
                </c:pt>
                <c:pt idx="83">
                  <c:v>3.5523055305429874E-2</c:v>
                </c:pt>
                <c:pt idx="84">
                  <c:v>3.6224939360802871E-2</c:v>
                </c:pt>
                <c:pt idx="85">
                  <c:v>3.6918549733794263E-2</c:v>
                </c:pt>
                <c:pt idx="86">
                  <c:v>3.7759707442590981E-2</c:v>
                </c:pt>
                <c:pt idx="87">
                  <c:v>3.7972065290385562E-2</c:v>
                </c:pt>
                <c:pt idx="88">
                  <c:v>3.8147191567462914E-2</c:v>
                </c:pt>
                <c:pt idx="89">
                  <c:v>3.8613275674960111E-2</c:v>
                </c:pt>
                <c:pt idx="90">
                  <c:v>3.9213117647626618E-2</c:v>
                </c:pt>
                <c:pt idx="91">
                  <c:v>3.9863980661646377E-2</c:v>
                </c:pt>
                <c:pt idx="92">
                  <c:v>4.0626538387817823E-2</c:v>
                </c:pt>
                <c:pt idx="93">
                  <c:v>4.084716991799401E-2</c:v>
                </c:pt>
                <c:pt idx="94">
                  <c:v>4.0980927783163326E-2</c:v>
                </c:pt>
                <c:pt idx="95">
                  <c:v>4.1036085665707371E-2</c:v>
                </c:pt>
                <c:pt idx="96">
                  <c:v>4.1100896177696626E-2</c:v>
                </c:pt>
                <c:pt idx="97">
                  <c:v>4.144149610240612E-2</c:v>
                </c:pt>
                <c:pt idx="98">
                  <c:v>4.2013759133800607E-2</c:v>
                </c:pt>
                <c:pt idx="99">
                  <c:v>4.2916969460459378E-2</c:v>
                </c:pt>
                <c:pt idx="100">
                  <c:v>4.4287642841678944E-2</c:v>
                </c:pt>
                <c:pt idx="101">
                  <c:v>4.4709600643140904E-2</c:v>
                </c:pt>
                <c:pt idx="102">
                  <c:v>4.495367427339831E-2</c:v>
                </c:pt>
                <c:pt idx="103">
                  <c:v>4.5706579370124553E-2</c:v>
                </c:pt>
                <c:pt idx="104">
                  <c:v>4.6493958143440824E-2</c:v>
                </c:pt>
                <c:pt idx="105">
                  <c:v>4.7302021122711112E-2</c:v>
                </c:pt>
                <c:pt idx="106">
                  <c:v>4.853204190344336E-2</c:v>
                </c:pt>
                <c:pt idx="107">
                  <c:v>4.9908231072917336E-2</c:v>
                </c:pt>
                <c:pt idx="108">
                  <c:v>5.0494283574947833E-2</c:v>
                </c:pt>
                <c:pt idx="109">
                  <c:v>5.1019662406179882E-2</c:v>
                </c:pt>
                <c:pt idx="110">
                  <c:v>5.2268988445802543E-2</c:v>
                </c:pt>
                <c:pt idx="111">
                  <c:v>5.3356977678983876E-2</c:v>
                </c:pt>
                <c:pt idx="112">
                  <c:v>5.4584240565588922E-2</c:v>
                </c:pt>
                <c:pt idx="113">
                  <c:v>5.5851492917038399E-2</c:v>
                </c:pt>
                <c:pt idx="114">
                  <c:v>5.7711692505836382E-2</c:v>
                </c:pt>
                <c:pt idx="115">
                  <c:v>5.8248102913577245E-2</c:v>
                </c:pt>
                <c:pt idx="116">
                  <c:v>5.8722460703456048E-2</c:v>
                </c:pt>
                <c:pt idx="117">
                  <c:v>5.9752534159966127E-2</c:v>
                </c:pt>
                <c:pt idx="118">
                  <c:v>6.0654365539561293E-2</c:v>
                </c:pt>
                <c:pt idx="119">
                  <c:v>6.1710638990279794E-2</c:v>
                </c:pt>
                <c:pt idx="120">
                  <c:v>6.2788975594015917E-2</c:v>
                </c:pt>
                <c:pt idx="121">
                  <c:v>6.4185848969443904E-2</c:v>
                </c:pt>
                <c:pt idx="122">
                  <c:v>6.4541617311853011E-2</c:v>
                </c:pt>
                <c:pt idx="123">
                  <c:v>6.4897385654262105E-2</c:v>
                </c:pt>
                <c:pt idx="124">
                  <c:v>6.6040532769987476E-2</c:v>
                </c:pt>
                <c:pt idx="125">
                  <c:v>6.7266416709528931E-2</c:v>
                </c:pt>
                <c:pt idx="126">
                  <c:v>6.8701900602737745E-2</c:v>
                </c:pt>
                <c:pt idx="127">
                  <c:v>7.0359394973186357E-2</c:v>
                </c:pt>
                <c:pt idx="128">
                  <c:v>7.2353352427153655E-2</c:v>
                </c:pt>
                <c:pt idx="129">
                  <c:v>7.3168310141741952E-2</c:v>
                </c:pt>
                <c:pt idx="130">
                  <c:v>7.3809520526316508E-2</c:v>
                </c:pt>
                <c:pt idx="131">
                  <c:v>7.529050967262417E-2</c:v>
                </c:pt>
                <c:pt idx="132">
                  <c:v>7.6989372454980817E-2</c:v>
                </c:pt>
                <c:pt idx="133">
                  <c:v>7.8688235237337464E-2</c:v>
                </c:pt>
                <c:pt idx="134">
                  <c:v>8.0387098019694112E-2</c:v>
                </c:pt>
                <c:pt idx="135">
                  <c:v>8.2085960802050759E-2</c:v>
                </c:pt>
                <c:pt idx="136">
                  <c:v>8.3784823584407406E-2</c:v>
                </c:pt>
                <c:pt idx="137">
                  <c:v>8.5483686366764053E-2</c:v>
                </c:pt>
                <c:pt idx="138">
                  <c:v>8.71825491491207E-2</c:v>
                </c:pt>
                <c:pt idx="139">
                  <c:v>8.8881411931477347E-2</c:v>
                </c:pt>
                <c:pt idx="140">
                  <c:v>9.0580274713833994E-2</c:v>
                </c:pt>
                <c:pt idx="141">
                  <c:v>9.2279137496190641E-2</c:v>
                </c:pt>
                <c:pt idx="142">
                  <c:v>9.3978000278547288E-2</c:v>
                </c:pt>
                <c:pt idx="143">
                  <c:v>9.5676863060903936E-2</c:v>
                </c:pt>
                <c:pt idx="144">
                  <c:v>9.7375725843260583E-2</c:v>
                </c:pt>
                <c:pt idx="145">
                  <c:v>9.907458862561723E-2</c:v>
                </c:pt>
                <c:pt idx="146">
                  <c:v>0.10077345140797388</c:v>
                </c:pt>
                <c:pt idx="147">
                  <c:v>0.10247231419033052</c:v>
                </c:pt>
                <c:pt idx="148">
                  <c:v>0.10417117697268719</c:v>
                </c:pt>
                <c:pt idx="149">
                  <c:v>0.10587003975504383</c:v>
                </c:pt>
                <c:pt idx="150">
                  <c:v>0.10756890253740048</c:v>
                </c:pt>
                <c:pt idx="151">
                  <c:v>0.10926776531975713</c:v>
                </c:pt>
                <c:pt idx="152">
                  <c:v>0.11096662810211377</c:v>
                </c:pt>
                <c:pt idx="153" formatCode="#,##0">
                  <c:v>0.12224365718824418</c:v>
                </c:pt>
                <c:pt idx="154" formatCode="#,##0">
                  <c:v>0.13352068627437458</c:v>
                </c:pt>
                <c:pt idx="155" formatCode="#,##0">
                  <c:v>0.14479771536050501</c:v>
                </c:pt>
                <c:pt idx="156" formatCode="#,##0">
                  <c:v>0.15607474444663541</c:v>
                </c:pt>
                <c:pt idx="157" formatCode="#,##0">
                  <c:v>0.16735177353276581</c:v>
                </c:pt>
                <c:pt idx="158" formatCode="#,##0">
                  <c:v>0.17862880261889624</c:v>
                </c:pt>
                <c:pt idx="159" formatCode="#,##0">
                  <c:v>0.18990583170502665</c:v>
                </c:pt>
                <c:pt idx="160" formatCode="#,##0">
                  <c:v>0.20118286079115705</c:v>
                </c:pt>
                <c:pt idx="161" formatCode="#,##0">
                  <c:v>0.21245988987728748</c:v>
                </c:pt>
                <c:pt idx="162" formatCode="#,##0">
                  <c:v>0.22373691896341788</c:v>
                </c:pt>
                <c:pt idx="163" formatCode="#,##0">
                  <c:v>0.23501394804954828</c:v>
                </c:pt>
                <c:pt idx="164" formatCode="#,##0">
                  <c:v>0.24629097713567871</c:v>
                </c:pt>
                <c:pt idx="165" formatCode="#,##0">
                  <c:v>0.25756800622180909</c:v>
                </c:pt>
                <c:pt idx="166" formatCode="#,##0">
                  <c:v>0.26884503530793952</c:v>
                </c:pt>
                <c:pt idx="167" formatCode="#,##0">
                  <c:v>0.28012206439406995</c:v>
                </c:pt>
                <c:pt idx="168" formatCode="#,##0">
                  <c:v>0.29139909348020032</c:v>
                </c:pt>
                <c:pt idx="169" formatCode="#,##0">
                  <c:v>0.30267612256633075</c:v>
                </c:pt>
                <c:pt idx="170" formatCode="#,##0">
                  <c:v>0.31395315165246118</c:v>
                </c:pt>
                <c:pt idx="171" formatCode="#,##0">
                  <c:v>0.32523018073859156</c:v>
                </c:pt>
                <c:pt idx="172" formatCode="#,##0">
                  <c:v>0.33650720982472199</c:v>
                </c:pt>
                <c:pt idx="173" formatCode="#,##0">
                  <c:v>0.34778423891085242</c:v>
                </c:pt>
                <c:pt idx="174" formatCode="#,##0">
                  <c:v>0.35906126799698279</c:v>
                </c:pt>
                <c:pt idx="175" formatCode="#,##0">
                  <c:v>0.37033829708311322</c:v>
                </c:pt>
                <c:pt idx="176" formatCode="#,##0">
                  <c:v>0.38161532616924365</c:v>
                </c:pt>
                <c:pt idx="177" formatCode="#,##0">
                  <c:v>0.39289235525537403</c:v>
                </c:pt>
                <c:pt idx="178" formatCode="#,##0">
                  <c:v>0.40416938434150446</c:v>
                </c:pt>
                <c:pt idx="179" formatCode="#,##0">
                  <c:v>0.41544641342763489</c:v>
                </c:pt>
                <c:pt idx="180" formatCode="#,##0">
                  <c:v>0.42672344251376526</c:v>
                </c:pt>
                <c:pt idx="181" formatCode="#,##0">
                  <c:v>0.43800047159989569</c:v>
                </c:pt>
                <c:pt idx="182" formatCode="#,##0">
                  <c:v>0.449277500686026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0-F267-42C6-AC42-927B0F02AEC7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8 35-39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F$5:$F$187</c:f>
              <c:numCache>
                <c:formatCode>0.00%</c:formatCode>
                <c:ptCount val="183"/>
                <c:pt idx="0">
                  <c:v>1.232567743575081E-3</c:v>
                </c:pt>
                <c:pt idx="1">
                  <c:v>1.3799675974459156E-3</c:v>
                </c:pt>
                <c:pt idx="2">
                  <c:v>1.4155468725181859E-3</c:v>
                </c:pt>
                <c:pt idx="3">
                  <c:v>1.5820070523205937E-3</c:v>
                </c:pt>
                <c:pt idx="4">
                  <c:v>1.6989103847009108E-3</c:v>
                </c:pt>
                <c:pt idx="5">
                  <c:v>2.1449220114997287E-3</c:v>
                </c:pt>
                <c:pt idx="6">
                  <c:v>2.7332507385876281E-3</c:v>
                </c:pt>
                <c:pt idx="7">
                  <c:v>3.4524603704056654E-3</c:v>
                </c:pt>
                <c:pt idx="8">
                  <c:v>4.3622732615394367E-3</c:v>
                </c:pt>
                <c:pt idx="9">
                  <c:v>5.4550652816163121E-3</c:v>
                </c:pt>
                <c:pt idx="10">
                  <c:v>5.6787064392134403E-3</c:v>
                </c:pt>
                <c:pt idx="11">
                  <c:v>5.8743924521109277E-3</c:v>
                </c:pt>
                <c:pt idx="12">
                  <c:v>6.9811620445376244E-3</c:v>
                </c:pt>
                <c:pt idx="13">
                  <c:v>8.4157692429873837E-3</c:v>
                </c:pt>
                <c:pt idx="14">
                  <c:v>9.8325868039010073E-3</c:v>
                </c:pt>
                <c:pt idx="15">
                  <c:v>1.1259569871978138E-2</c:v>
                </c:pt>
                <c:pt idx="16">
                  <c:v>1.2459099717271825E-2</c:v>
                </c:pt>
                <c:pt idx="17">
                  <c:v>1.2610311636328973E-2</c:v>
                </c:pt>
                <c:pt idx="18">
                  <c:v>1.2695447758823334E-2</c:v>
                </c:pt>
                <c:pt idx="19">
                  <c:v>1.351631246227643E-2</c:v>
                </c:pt>
                <c:pt idx="20">
                  <c:v>1.4156739413577297E-2</c:v>
                </c:pt>
                <c:pt idx="21">
                  <c:v>1.4839099081927626E-2</c:v>
                </c:pt>
                <c:pt idx="22">
                  <c:v>1.5522729438673392E-2</c:v>
                </c:pt>
                <c:pt idx="23">
                  <c:v>1.6039899615616752E-2</c:v>
                </c:pt>
                <c:pt idx="24">
                  <c:v>1.6099621970202347E-2</c:v>
                </c:pt>
                <c:pt idx="25">
                  <c:v>1.6135201245274618E-2</c:v>
                </c:pt>
                <c:pt idx="26">
                  <c:v>1.6485911242415569E-2</c:v>
                </c:pt>
                <c:pt idx="27">
                  <c:v>1.6845516058324586E-2</c:v>
                </c:pt>
                <c:pt idx="28">
                  <c:v>1.7200038120651854E-2</c:v>
                </c:pt>
                <c:pt idx="29">
                  <c:v>1.7513898154325094E-2</c:v>
                </c:pt>
                <c:pt idx="30">
                  <c:v>1.76968772832682E-2</c:v>
                </c:pt>
                <c:pt idx="31">
                  <c:v>1.7704501413640831E-2</c:v>
                </c:pt>
                <c:pt idx="32">
                  <c:v>1.7713396232408897E-2</c:v>
                </c:pt>
                <c:pt idx="33">
                  <c:v>1.786333746307061E-2</c:v>
                </c:pt>
                <c:pt idx="34">
                  <c:v>1.8029797642873015E-2</c:v>
                </c:pt>
                <c:pt idx="35">
                  <c:v>1.8183550938721042E-2</c:v>
                </c:pt>
                <c:pt idx="36">
                  <c:v>1.8348740430128012E-2</c:v>
                </c:pt>
                <c:pt idx="37">
                  <c:v>1.8511388544744104E-2</c:v>
                </c:pt>
                <c:pt idx="38">
                  <c:v>1.8516471298325857E-2</c:v>
                </c:pt>
                <c:pt idx="39">
                  <c:v>1.8526636805489362E-2</c:v>
                </c:pt>
                <c:pt idx="40">
                  <c:v>1.8663871152196691E-2</c:v>
                </c:pt>
                <c:pt idx="41">
                  <c:v>1.8840496839162606E-2</c:v>
                </c:pt>
                <c:pt idx="42">
                  <c:v>1.9104800025413756E-2</c:v>
                </c:pt>
                <c:pt idx="43">
                  <c:v>1.9390704914387359E-2</c:v>
                </c:pt>
                <c:pt idx="44">
                  <c:v>1.9628323644334308E-2</c:v>
                </c:pt>
                <c:pt idx="45">
                  <c:v>1.967533911496552E-2</c:v>
                </c:pt>
                <c:pt idx="46">
                  <c:v>1.9699482194478847E-2</c:v>
                </c:pt>
                <c:pt idx="47">
                  <c:v>1.9930747482448604E-2</c:v>
                </c:pt>
                <c:pt idx="48">
                  <c:v>2.0181073096349936E-2</c:v>
                </c:pt>
                <c:pt idx="49">
                  <c:v>2.0550843419422461E-2</c:v>
                </c:pt>
                <c:pt idx="50">
                  <c:v>2.0935862003240244E-2</c:v>
                </c:pt>
                <c:pt idx="51">
                  <c:v>2.1419994281902208E-2</c:v>
                </c:pt>
                <c:pt idx="52">
                  <c:v>2.1492423520442186E-2</c:v>
                </c:pt>
                <c:pt idx="53">
                  <c:v>2.1511483846373761E-2</c:v>
                </c:pt>
                <c:pt idx="54">
                  <c:v>2.1864735220305586E-2</c:v>
                </c:pt>
                <c:pt idx="55">
                  <c:v>2.2479748403697691E-2</c:v>
                </c:pt>
                <c:pt idx="56">
                  <c:v>2.3056640935226646E-2</c:v>
                </c:pt>
                <c:pt idx="57">
                  <c:v>2.3860986689539045E-2</c:v>
                </c:pt>
                <c:pt idx="58">
                  <c:v>2.4528098097144114E-2</c:v>
                </c:pt>
                <c:pt idx="59">
                  <c:v>2.4619587661615667E-2</c:v>
                </c:pt>
                <c:pt idx="60">
                  <c:v>2.4698370342132837E-2</c:v>
                </c:pt>
                <c:pt idx="61">
                  <c:v>2.5651386638711506E-2</c:v>
                </c:pt>
                <c:pt idx="62">
                  <c:v>2.6760697607929079E-2</c:v>
                </c:pt>
                <c:pt idx="63">
                  <c:v>2.7966580895199957E-2</c:v>
                </c:pt>
                <c:pt idx="64">
                  <c:v>2.9103847009117171E-2</c:v>
                </c:pt>
                <c:pt idx="65">
                  <c:v>3.0126751167444947E-2</c:v>
                </c:pt>
                <c:pt idx="66">
                  <c:v>3.0576574859430078E-2</c:v>
                </c:pt>
                <c:pt idx="67">
                  <c:v>3.1039105435369592E-2</c:v>
                </c:pt>
                <c:pt idx="68">
                  <c:v>3.2054385463324737E-2</c:v>
                </c:pt>
                <c:pt idx="69">
                  <c:v>3.3245020489850355E-2</c:v>
                </c:pt>
                <c:pt idx="70">
                  <c:v>3.4508084754915958E-2</c:v>
                </c:pt>
                <c:pt idx="71">
                  <c:v>3.5963022967692729E-2</c:v>
                </c:pt>
                <c:pt idx="72">
                  <c:v>3.7161282124590973E-2</c:v>
                </c:pt>
                <c:pt idx="73">
                  <c:v>3.761618857015786E-2</c:v>
                </c:pt>
                <c:pt idx="74">
                  <c:v>3.795165030655355E-2</c:v>
                </c:pt>
                <c:pt idx="75">
                  <c:v>3.8792846024333659E-2</c:v>
                </c:pt>
                <c:pt idx="76">
                  <c:v>4.0002541376790851E-2</c:v>
                </c:pt>
                <c:pt idx="77">
                  <c:v>4.1034340353886693E-2</c:v>
                </c:pt>
                <c:pt idx="78">
                  <c:v>4.2020394548746759E-2</c:v>
                </c:pt>
                <c:pt idx="79">
                  <c:v>4.3235172654785707E-2</c:v>
                </c:pt>
                <c:pt idx="80">
                  <c:v>4.3714222179865918E-2</c:v>
                </c:pt>
                <c:pt idx="81">
                  <c:v>4.3922615076717783E-2</c:v>
                </c:pt>
                <c:pt idx="82">
                  <c:v>4.4519838622573756E-2</c:v>
                </c:pt>
                <c:pt idx="83">
                  <c:v>4.5272086152673183E-2</c:v>
                </c:pt>
                <c:pt idx="84">
                  <c:v>4.6047206073890505E-2</c:v>
                </c:pt>
                <c:pt idx="85">
                  <c:v>4.686044664697097E-2</c:v>
                </c:pt>
                <c:pt idx="86">
                  <c:v>4.8038374789542204E-2</c:v>
                </c:pt>
                <c:pt idx="87">
                  <c:v>4.8357317576797204E-2</c:v>
                </c:pt>
                <c:pt idx="88">
                  <c:v>4.8612725944280288E-2</c:v>
                </c:pt>
                <c:pt idx="89">
                  <c:v>4.9209949490136254E-2</c:v>
                </c:pt>
                <c:pt idx="90">
                  <c:v>4.9954572889863054E-2</c:v>
                </c:pt>
                <c:pt idx="91">
                  <c:v>5.0692842847612662E-2</c:v>
                </c:pt>
                <c:pt idx="92">
                  <c:v>5.1639505702214143E-2</c:v>
                </c:pt>
                <c:pt idx="93">
                  <c:v>5.1910162330442489E-2</c:v>
                </c:pt>
                <c:pt idx="94">
                  <c:v>5.21033069665491E-2</c:v>
                </c:pt>
                <c:pt idx="95">
                  <c:v>5.216430000953013E-2</c:v>
                </c:pt>
                <c:pt idx="96">
                  <c:v>5.2248165443629056E-2</c:v>
                </c:pt>
                <c:pt idx="97">
                  <c:v>5.2668763302519107E-2</c:v>
                </c:pt>
                <c:pt idx="98">
                  <c:v>5.3268528225165951E-2</c:v>
                </c:pt>
                <c:pt idx="99">
                  <c:v>5.4492201149972969E-2</c:v>
                </c:pt>
                <c:pt idx="100">
                  <c:v>5.5920454906445531E-2</c:v>
                </c:pt>
                <c:pt idx="101">
                  <c:v>5.6779440261761772E-2</c:v>
                </c:pt>
                <c:pt idx="102">
                  <c:v>5.7102195114203086E-2</c:v>
                </c:pt>
                <c:pt idx="103">
                  <c:v>5.8231837097747673E-2</c:v>
                </c:pt>
                <c:pt idx="104">
                  <c:v>5.9221703357794052E-2</c:v>
                </c:pt>
                <c:pt idx="105">
                  <c:v>6.0294164363543915E-2</c:v>
                </c:pt>
                <c:pt idx="106">
                  <c:v>6.1808824930906281E-2</c:v>
                </c:pt>
                <c:pt idx="107">
                  <c:v>6.3872422885097965E-2</c:v>
                </c:pt>
                <c:pt idx="108">
                  <c:v>6.4825439181676631E-2</c:v>
                </c:pt>
                <c:pt idx="109">
                  <c:v>6.5629784935989033E-2</c:v>
                </c:pt>
                <c:pt idx="110">
                  <c:v>6.7434162457511312E-2</c:v>
                </c:pt>
                <c:pt idx="111">
                  <c:v>6.8979319546364201E-2</c:v>
                </c:pt>
                <c:pt idx="112">
                  <c:v>7.0584198989802685E-2</c:v>
                </c:pt>
                <c:pt idx="113">
                  <c:v>7.22500714762222E-2</c:v>
                </c:pt>
                <c:pt idx="114">
                  <c:v>7.4562724355919777E-2</c:v>
                </c:pt>
                <c:pt idx="115">
                  <c:v>7.514978239461223E-2</c:v>
                </c:pt>
                <c:pt idx="116">
                  <c:v>7.5621207789319814E-2</c:v>
                </c:pt>
                <c:pt idx="117">
                  <c:v>7.6918580641062245E-2</c:v>
                </c:pt>
                <c:pt idx="118">
                  <c:v>7.7956733060135286E-2</c:v>
                </c:pt>
                <c:pt idx="119">
                  <c:v>7.9218526636805439E-2</c:v>
                </c:pt>
                <c:pt idx="120">
                  <c:v>8.0579433908319786E-2</c:v>
                </c:pt>
                <c:pt idx="121">
                  <c:v>8.2339337336001725E-2</c:v>
                </c:pt>
                <c:pt idx="122">
                  <c:v>8.279678515835949E-2</c:v>
                </c:pt>
                <c:pt idx="123">
                  <c:v>8.3216112328854105E-2</c:v>
                </c:pt>
                <c:pt idx="124">
                  <c:v>8.4587185107531951E-2</c:v>
                </c:pt>
                <c:pt idx="125">
                  <c:v>8.6164109406270797E-2</c:v>
                </c:pt>
                <c:pt idx="126">
                  <c:v>8.7953238667047823E-2</c:v>
                </c:pt>
                <c:pt idx="127">
                  <c:v>9.0072746910638782E-2</c:v>
                </c:pt>
                <c:pt idx="128">
                  <c:v>9.2475618666412476E-2</c:v>
                </c:pt>
                <c:pt idx="129">
                  <c:v>9.3410845325455016E-2</c:v>
                </c:pt>
                <c:pt idx="130">
                  <c:v>9.407668604466464E-2</c:v>
                </c:pt>
                <c:pt idx="131">
                  <c:v>9.596365831189041E-2</c:v>
                </c:pt>
                <c:pt idx="132">
                  <c:v>9.8047587280409104E-2</c:v>
                </c:pt>
                <c:pt idx="133">
                  <c:v>0.1001315162489278</c:v>
                </c:pt>
                <c:pt idx="134">
                  <c:v>0.10221544521744649</c:v>
                </c:pt>
                <c:pt idx="135">
                  <c:v>0.10429937418596519</c:v>
                </c:pt>
                <c:pt idx="136">
                  <c:v>0.10638330315448388</c:v>
                </c:pt>
                <c:pt idx="137">
                  <c:v>0.10846723212300258</c:v>
                </c:pt>
                <c:pt idx="138">
                  <c:v>0.11055116109152127</c:v>
                </c:pt>
                <c:pt idx="139">
                  <c:v>0.11263509006003997</c:v>
                </c:pt>
                <c:pt idx="140">
                  <c:v>0.11471901902855865</c:v>
                </c:pt>
                <c:pt idx="141">
                  <c:v>0.11680294799707734</c:v>
                </c:pt>
                <c:pt idx="142">
                  <c:v>0.11888687696559604</c:v>
                </c:pt>
                <c:pt idx="143">
                  <c:v>0.12097080593411473</c:v>
                </c:pt>
                <c:pt idx="144">
                  <c:v>0.12305473490263343</c:v>
                </c:pt>
                <c:pt idx="145">
                  <c:v>0.12513866387115213</c:v>
                </c:pt>
                <c:pt idx="146">
                  <c:v>0.12722259283967083</c:v>
                </c:pt>
                <c:pt idx="147">
                  <c:v>0.12930652180818952</c:v>
                </c:pt>
                <c:pt idx="148">
                  <c:v>0.13139045077670822</c:v>
                </c:pt>
                <c:pt idx="149">
                  <c:v>0.13347437974522688</c:v>
                </c:pt>
                <c:pt idx="150">
                  <c:v>0.13555830871374558</c:v>
                </c:pt>
                <c:pt idx="151">
                  <c:v>0.13764223768226427</c:v>
                </c:pt>
                <c:pt idx="152">
                  <c:v>0.13972616665078297</c:v>
                </c:pt>
                <c:pt idx="153" formatCode="#,##0">
                  <c:v>0.1510047968486927</c:v>
                </c:pt>
                <c:pt idx="154" formatCode="#,##0">
                  <c:v>0.1622834270466024</c:v>
                </c:pt>
                <c:pt idx="155" formatCode="#,##0">
                  <c:v>0.17356205724451212</c:v>
                </c:pt>
                <c:pt idx="156" formatCode="#,##0">
                  <c:v>0.18484068744242182</c:v>
                </c:pt>
                <c:pt idx="157" formatCode="#,##0">
                  <c:v>0.19611931764033153</c:v>
                </c:pt>
                <c:pt idx="158" formatCode="#,##0">
                  <c:v>0.20739794783824125</c:v>
                </c:pt>
                <c:pt idx="159" formatCode="#,##0">
                  <c:v>0.21867657803615095</c:v>
                </c:pt>
                <c:pt idx="160" formatCode="#,##0">
                  <c:v>0.22995520823406065</c:v>
                </c:pt>
                <c:pt idx="161" formatCode="#,##0">
                  <c:v>0.24123383843197038</c:v>
                </c:pt>
                <c:pt idx="162" formatCode="#,##0">
                  <c:v>0.25251246862988008</c:v>
                </c:pt>
                <c:pt idx="163" formatCode="#,##0">
                  <c:v>0.26379109882778978</c:v>
                </c:pt>
                <c:pt idx="164" formatCode="#,##0">
                  <c:v>0.27506972902569948</c:v>
                </c:pt>
                <c:pt idx="165" formatCode="#,##0">
                  <c:v>0.28634835922360924</c:v>
                </c:pt>
                <c:pt idx="166" formatCode="#,##0">
                  <c:v>0.29762698942151894</c:v>
                </c:pt>
                <c:pt idx="167" formatCode="#,##0">
                  <c:v>0.30890561961942864</c:v>
                </c:pt>
                <c:pt idx="168" formatCode="#,##0">
                  <c:v>0.32018424981733834</c:v>
                </c:pt>
                <c:pt idx="169" formatCode="#,##0">
                  <c:v>0.33146288001524804</c:v>
                </c:pt>
                <c:pt idx="170" formatCode="#,##0">
                  <c:v>0.3427415102131578</c:v>
                </c:pt>
                <c:pt idx="171" formatCode="#,##0">
                  <c:v>0.3540201404110675</c:v>
                </c:pt>
                <c:pt idx="172" formatCode="#,##0">
                  <c:v>0.3652987706089772</c:v>
                </c:pt>
                <c:pt idx="173" formatCode="#,##0">
                  <c:v>0.3765774008068869</c:v>
                </c:pt>
                <c:pt idx="174" formatCode="#,##0">
                  <c:v>0.3878560310047966</c:v>
                </c:pt>
                <c:pt idx="175" formatCode="#,##0">
                  <c:v>0.39913466120270635</c:v>
                </c:pt>
                <c:pt idx="176" formatCode="#,##0">
                  <c:v>0.41041329140061605</c:v>
                </c:pt>
                <c:pt idx="177" formatCode="#,##0">
                  <c:v>0.42169192159852575</c:v>
                </c:pt>
                <c:pt idx="178" formatCode="#,##0">
                  <c:v>0.43297055179643545</c:v>
                </c:pt>
                <c:pt idx="179" formatCode="#,##0">
                  <c:v>0.44424918199434515</c:v>
                </c:pt>
                <c:pt idx="180" formatCode="#,##0">
                  <c:v>0.45552781219225491</c:v>
                </c:pt>
                <c:pt idx="181" formatCode="#,##0">
                  <c:v>0.46680644239016461</c:v>
                </c:pt>
                <c:pt idx="182" formatCode="#,##0">
                  <c:v>0.478085072588074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1-F267-42C6-AC42-927B0F02AEC7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9 40-44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G$5:$G$187</c:f>
              <c:numCache>
                <c:formatCode>0.00%</c:formatCode>
                <c:ptCount val="183"/>
                <c:pt idx="0">
                  <c:v>1.4753526498208346E-3</c:v>
                </c:pt>
                <c:pt idx="1">
                  <c:v>1.63963631437066E-3</c:v>
                </c:pt>
                <c:pt idx="2">
                  <c:v>1.68764128128457E-3</c:v>
                </c:pt>
                <c:pt idx="3">
                  <c:v>1.9009966897908367E-3</c:v>
                </c:pt>
                <c:pt idx="4">
                  <c:v>2.0599464691280055E-3</c:v>
                </c:pt>
                <c:pt idx="5">
                  <c:v>2.6072030919465799E-3</c:v>
                </c:pt>
                <c:pt idx="6">
                  <c:v>3.2910071762091648E-3</c:v>
                </c:pt>
                <c:pt idx="7">
                  <c:v>4.1796324526377658E-3</c:v>
                </c:pt>
                <c:pt idx="8">
                  <c:v>5.2389420558713803E-3</c:v>
                </c:pt>
                <c:pt idx="9">
                  <c:v>6.5969492310137684E-3</c:v>
                </c:pt>
                <c:pt idx="10">
                  <c:v>6.8156385247326919E-3</c:v>
                </c:pt>
                <c:pt idx="11">
                  <c:v>7.0364613725366777E-3</c:v>
                </c:pt>
                <c:pt idx="12">
                  <c:v>8.4542080620608195E-3</c:v>
                </c:pt>
                <c:pt idx="13">
                  <c:v>1.0129048018835015E-2</c:v>
                </c:pt>
                <c:pt idx="14">
                  <c:v>1.1691876386143418E-2</c:v>
                </c:pt>
                <c:pt idx="15">
                  <c:v>1.3381651221513051E-2</c:v>
                </c:pt>
                <c:pt idx="16">
                  <c:v>1.4887940405567294E-2</c:v>
                </c:pt>
                <c:pt idx="17">
                  <c:v>1.5113030361541406E-2</c:v>
                </c:pt>
                <c:pt idx="18">
                  <c:v>1.5196238970858849E-2</c:v>
                </c:pt>
                <c:pt idx="19">
                  <c:v>1.6235279810284369E-2</c:v>
                </c:pt>
                <c:pt idx="20">
                  <c:v>1.711750442445778E-2</c:v>
                </c:pt>
                <c:pt idx="21">
                  <c:v>1.7903719104803376E-2</c:v>
                </c:pt>
                <c:pt idx="22">
                  <c:v>1.8812613145040073E-2</c:v>
                </c:pt>
                <c:pt idx="23">
                  <c:v>1.9560423851854535E-2</c:v>
                </c:pt>
                <c:pt idx="24">
                  <c:v>1.9637231798916792E-2</c:v>
                </c:pt>
                <c:pt idx="25">
                  <c:v>1.9672435441320326E-2</c:v>
                </c:pt>
                <c:pt idx="26">
                  <c:v>2.0062875838886794E-2</c:v>
                </c:pt>
                <c:pt idx="27">
                  <c:v>2.0505588311537298E-2</c:v>
                </c:pt>
                <c:pt idx="28">
                  <c:v>2.0935499459677424E-2</c:v>
                </c:pt>
                <c:pt idx="29">
                  <c:v>2.125873290356442E-2</c:v>
                </c:pt>
                <c:pt idx="30">
                  <c:v>2.1537161711665097E-2</c:v>
                </c:pt>
                <c:pt idx="31">
                  <c:v>2.1549963036175474E-2</c:v>
                </c:pt>
                <c:pt idx="32">
                  <c:v>2.1560630806600787E-2</c:v>
                </c:pt>
                <c:pt idx="33">
                  <c:v>2.1722780917065549E-2</c:v>
                </c:pt>
                <c:pt idx="34">
                  <c:v>2.1897732352040688E-2</c:v>
                </c:pt>
                <c:pt idx="35">
                  <c:v>2.2108954206461893E-2</c:v>
                </c:pt>
                <c:pt idx="36">
                  <c:v>2.229777374298994E-2</c:v>
                </c:pt>
                <c:pt idx="37">
                  <c:v>2.2520730144878987E-2</c:v>
                </c:pt>
                <c:pt idx="38">
                  <c:v>2.2528197584176707E-2</c:v>
                </c:pt>
                <c:pt idx="39">
                  <c:v>2.2533531469389363E-2</c:v>
                </c:pt>
                <c:pt idx="40">
                  <c:v>2.269994868802425E-2</c:v>
                </c:pt>
                <c:pt idx="41">
                  <c:v>2.2961309063444429E-2</c:v>
                </c:pt>
                <c:pt idx="42">
                  <c:v>2.3315479041564832E-2</c:v>
                </c:pt>
                <c:pt idx="43">
                  <c:v>2.3631245046154107E-2</c:v>
                </c:pt>
                <c:pt idx="44">
                  <c:v>2.3955545267083631E-2</c:v>
                </c:pt>
                <c:pt idx="45">
                  <c:v>2.4021685443720575E-2</c:v>
                </c:pt>
                <c:pt idx="46">
                  <c:v>2.4051555200911453E-2</c:v>
                </c:pt>
                <c:pt idx="47">
                  <c:v>2.4335317894224787E-2</c:v>
                </c:pt>
                <c:pt idx="48">
                  <c:v>2.4687354318260125E-2</c:v>
                </c:pt>
                <c:pt idx="49">
                  <c:v>2.5112998358230127E-2</c:v>
                </c:pt>
                <c:pt idx="50">
                  <c:v>2.5584513811028976E-2</c:v>
                </c:pt>
                <c:pt idx="51">
                  <c:v>2.6143504981315398E-2</c:v>
                </c:pt>
                <c:pt idx="52">
                  <c:v>2.6227780367675372E-2</c:v>
                </c:pt>
                <c:pt idx="53">
                  <c:v>2.6246982354440937E-2</c:v>
                </c:pt>
                <c:pt idx="54">
                  <c:v>2.6699295820474221E-2</c:v>
                </c:pt>
                <c:pt idx="55">
                  <c:v>2.7331894606695304E-2</c:v>
                </c:pt>
                <c:pt idx="56">
                  <c:v>2.7974094386299164E-2</c:v>
                </c:pt>
                <c:pt idx="57">
                  <c:v>2.8890455865833581E-2</c:v>
                </c:pt>
                <c:pt idx="58">
                  <c:v>2.9688405093647018E-2</c:v>
                </c:pt>
                <c:pt idx="59">
                  <c:v>2.9830286440303687E-2</c:v>
                </c:pt>
                <c:pt idx="60">
                  <c:v>2.9963633570620103E-2</c:v>
                </c:pt>
                <c:pt idx="61">
                  <c:v>3.1113619222468882E-2</c:v>
                </c:pt>
                <c:pt idx="62">
                  <c:v>3.2696716353585377E-2</c:v>
                </c:pt>
                <c:pt idx="63">
                  <c:v>3.4428095493613732E-2</c:v>
                </c:pt>
                <c:pt idx="64">
                  <c:v>3.5937585008795569E-2</c:v>
                </c:pt>
                <c:pt idx="65">
                  <c:v>3.7386268232553123E-2</c:v>
                </c:pt>
                <c:pt idx="66">
                  <c:v>3.797726271411548E-2</c:v>
                </c:pt>
                <c:pt idx="67">
                  <c:v>3.863973125752744E-2</c:v>
                </c:pt>
                <c:pt idx="68">
                  <c:v>3.9997738432669828E-2</c:v>
                </c:pt>
                <c:pt idx="69">
                  <c:v>4.1630974084785298E-2</c:v>
                </c:pt>
                <c:pt idx="70">
                  <c:v>4.3173533688285609E-2</c:v>
                </c:pt>
                <c:pt idx="71">
                  <c:v>4.4975320113121033E-2</c:v>
                </c:pt>
                <c:pt idx="72">
                  <c:v>4.6835779275295676E-2</c:v>
                </c:pt>
                <c:pt idx="73">
                  <c:v>4.7524917244770919E-2</c:v>
                </c:pt>
                <c:pt idx="74">
                  <c:v>4.8036970225185958E-2</c:v>
                </c:pt>
                <c:pt idx="75">
                  <c:v>4.9271231263394714E-2</c:v>
                </c:pt>
                <c:pt idx="76">
                  <c:v>5.1064483471889882E-2</c:v>
                </c:pt>
                <c:pt idx="77">
                  <c:v>5.2481163384371497E-2</c:v>
                </c:pt>
                <c:pt idx="78">
                  <c:v>5.3826369235003509E-2</c:v>
                </c:pt>
                <c:pt idx="79">
                  <c:v>5.5364661730333692E-2</c:v>
                </c:pt>
                <c:pt idx="80">
                  <c:v>5.5928986785832767E-2</c:v>
                </c:pt>
                <c:pt idx="81">
                  <c:v>5.6180746167870159E-2</c:v>
                </c:pt>
                <c:pt idx="82">
                  <c:v>5.7108842194872424E-2</c:v>
                </c:pt>
                <c:pt idx="83">
                  <c:v>5.8039071775959745E-2</c:v>
                </c:pt>
                <c:pt idx="84">
                  <c:v>5.9099448156235891E-2</c:v>
                </c:pt>
                <c:pt idx="85">
                  <c:v>6.0270769348935299E-2</c:v>
                </c:pt>
                <c:pt idx="86">
                  <c:v>6.1673581159864002E-2</c:v>
                </c:pt>
                <c:pt idx="87">
                  <c:v>6.1987213610368214E-2</c:v>
                </c:pt>
                <c:pt idx="88">
                  <c:v>6.2309380277212674E-2</c:v>
                </c:pt>
                <c:pt idx="89">
                  <c:v>6.3129731822919269E-2</c:v>
                </c:pt>
                <c:pt idx="90">
                  <c:v>6.4149570675579221E-2</c:v>
                </c:pt>
                <c:pt idx="91">
                  <c:v>6.5081933810751613E-2</c:v>
                </c:pt>
                <c:pt idx="92">
                  <c:v>6.6223385246260133E-2</c:v>
                </c:pt>
                <c:pt idx="93">
                  <c:v>6.6539151250849415E-2</c:v>
                </c:pt>
                <c:pt idx="94">
                  <c:v>6.672477045624986E-2</c:v>
                </c:pt>
                <c:pt idx="95">
                  <c:v>6.6822913944162746E-2</c:v>
                </c:pt>
                <c:pt idx="96">
                  <c:v>6.6880519904459437E-2</c:v>
                </c:pt>
                <c:pt idx="97">
                  <c:v>6.7374437675151444E-2</c:v>
                </c:pt>
                <c:pt idx="98">
                  <c:v>6.8199056329028174E-2</c:v>
                </c:pt>
                <c:pt idx="99">
                  <c:v>6.9581599376148773E-2</c:v>
                </c:pt>
                <c:pt idx="100">
                  <c:v>7.1301243968709294E-2</c:v>
                </c:pt>
                <c:pt idx="101">
                  <c:v>7.2400024322516562E-2</c:v>
                </c:pt>
                <c:pt idx="102">
                  <c:v>7.2953681607590318E-2</c:v>
                </c:pt>
                <c:pt idx="103">
                  <c:v>7.4385296398667367E-2</c:v>
                </c:pt>
                <c:pt idx="104">
                  <c:v>7.5939590549635533E-2</c:v>
                </c:pt>
                <c:pt idx="105">
                  <c:v>7.7324267150841203E-2</c:v>
                </c:pt>
                <c:pt idx="106">
                  <c:v>7.9356477416863386E-2</c:v>
                </c:pt>
                <c:pt idx="107">
                  <c:v>8.216636814689092E-2</c:v>
                </c:pt>
                <c:pt idx="108">
                  <c:v>8.3308886359441975E-2</c:v>
                </c:pt>
                <c:pt idx="109">
                  <c:v>8.4177242872062491E-2</c:v>
                </c:pt>
                <c:pt idx="110">
                  <c:v>8.6466546405334729E-2</c:v>
                </c:pt>
                <c:pt idx="111">
                  <c:v>8.8427282609507316E-2</c:v>
                </c:pt>
                <c:pt idx="112">
                  <c:v>9.0285608217596902E-2</c:v>
                </c:pt>
                <c:pt idx="113">
                  <c:v>9.2467167269573478E-2</c:v>
                </c:pt>
                <c:pt idx="114">
                  <c:v>9.5408271575832371E-2</c:v>
                </c:pt>
                <c:pt idx="115">
                  <c:v>9.6199820141390613E-2</c:v>
                </c:pt>
                <c:pt idx="116">
                  <c:v>9.6723607669273501E-2</c:v>
                </c:pt>
                <c:pt idx="117">
                  <c:v>9.8171224115988526E-2</c:v>
                </c:pt>
                <c:pt idx="118">
                  <c:v>9.9405485154197282E-2</c:v>
                </c:pt>
                <c:pt idx="119">
                  <c:v>0.10096084608220796</c:v>
                </c:pt>
                <c:pt idx="120">
                  <c:v>0.10278076771676642</c:v>
                </c:pt>
                <c:pt idx="121">
                  <c:v>0.10506687091891107</c:v>
                </c:pt>
                <c:pt idx="122">
                  <c:v>0.10571227102964252</c:v>
                </c:pt>
                <c:pt idx="123">
                  <c:v>0.10623285822639782</c:v>
                </c:pt>
                <c:pt idx="124">
                  <c:v>0.10804531242165855</c:v>
                </c:pt>
                <c:pt idx="125">
                  <c:v>0.11013299509389236</c:v>
                </c:pt>
                <c:pt idx="126">
                  <c:v>0.11225908173965732</c:v>
                </c:pt>
                <c:pt idx="127">
                  <c:v>0.11504870370587675</c:v>
                </c:pt>
                <c:pt idx="128">
                  <c:v>0.11796527214015742</c:v>
                </c:pt>
                <c:pt idx="129">
                  <c:v>0.11908218770368773</c:v>
                </c:pt>
                <c:pt idx="130">
                  <c:v>0.11990147247235179</c:v>
                </c:pt>
                <c:pt idx="131">
                  <c:v>0.12205422854418002</c:v>
                </c:pt>
                <c:pt idx="132">
                  <c:v>0.12465289741978636</c:v>
                </c:pt>
                <c:pt idx="133">
                  <c:v>0.12725156629539269</c:v>
                </c:pt>
                <c:pt idx="134">
                  <c:v>0.129850235170999</c:v>
                </c:pt>
                <c:pt idx="135">
                  <c:v>0.13244890404660534</c:v>
                </c:pt>
                <c:pt idx="136">
                  <c:v>0.13504757292221167</c:v>
                </c:pt>
                <c:pt idx="137">
                  <c:v>0.13764624179781801</c:v>
                </c:pt>
                <c:pt idx="138">
                  <c:v>0.14024491067342432</c:v>
                </c:pt>
                <c:pt idx="139">
                  <c:v>0.14284357954903065</c:v>
                </c:pt>
                <c:pt idx="140">
                  <c:v>0.14544224842463699</c:v>
                </c:pt>
                <c:pt idx="141">
                  <c:v>0.14804091730024332</c:v>
                </c:pt>
                <c:pt idx="142">
                  <c:v>0.15063958617584963</c:v>
                </c:pt>
                <c:pt idx="143">
                  <c:v>0.15323825505145597</c:v>
                </c:pt>
                <c:pt idx="144">
                  <c:v>0.1558369239270623</c:v>
                </c:pt>
                <c:pt idx="145">
                  <c:v>0.15843559280266864</c:v>
                </c:pt>
                <c:pt idx="146">
                  <c:v>0.16103426167827495</c:v>
                </c:pt>
                <c:pt idx="147">
                  <c:v>0.16363293055388128</c:v>
                </c:pt>
                <c:pt idx="148">
                  <c:v>0.16623159942948762</c:v>
                </c:pt>
                <c:pt idx="149">
                  <c:v>0.16883026830509396</c:v>
                </c:pt>
                <c:pt idx="150">
                  <c:v>0.17142893718070026</c:v>
                </c:pt>
                <c:pt idx="151">
                  <c:v>0.1740276060563066</c:v>
                </c:pt>
                <c:pt idx="152">
                  <c:v>0.17662627493191294</c:v>
                </c:pt>
                <c:pt idx="153" formatCode="#,##0">
                  <c:v>0.18790530860259672</c:v>
                </c:pt>
                <c:pt idx="154" formatCode="#,##0">
                  <c:v>0.19918434227328052</c:v>
                </c:pt>
                <c:pt idx="155" formatCode="#,##0">
                  <c:v>0.2104633759439643</c:v>
                </c:pt>
                <c:pt idx="156" formatCode="#,##0">
                  <c:v>0.22174240961464811</c:v>
                </c:pt>
                <c:pt idx="157" formatCode="#,##0">
                  <c:v>0.23302144328533189</c:v>
                </c:pt>
                <c:pt idx="158" formatCode="#,##0">
                  <c:v>0.24430047695601567</c:v>
                </c:pt>
                <c:pt idx="159" formatCode="#,##0">
                  <c:v>0.25557951062669948</c:v>
                </c:pt>
                <c:pt idx="160" formatCode="#,##0">
                  <c:v>0.26685854429738326</c:v>
                </c:pt>
                <c:pt idx="161" formatCode="#,##0">
                  <c:v>0.27813757796806704</c:v>
                </c:pt>
                <c:pt idx="162" formatCode="#,##0">
                  <c:v>0.28941661163875088</c:v>
                </c:pt>
                <c:pt idx="163" formatCode="#,##0">
                  <c:v>0.30069564530943466</c:v>
                </c:pt>
                <c:pt idx="164" formatCode="#,##0">
                  <c:v>0.31197467898011844</c:v>
                </c:pt>
                <c:pt idx="165" formatCode="#,##0">
                  <c:v>0.32325371265080222</c:v>
                </c:pt>
                <c:pt idx="166" formatCode="#,##0">
                  <c:v>0.334532746321486</c:v>
                </c:pt>
                <c:pt idx="167" formatCode="#,##0">
                  <c:v>0.34581177999216983</c:v>
                </c:pt>
                <c:pt idx="168" formatCode="#,##0">
                  <c:v>0.35709081366285361</c:v>
                </c:pt>
                <c:pt idx="169" formatCode="#,##0">
                  <c:v>0.36836984733353739</c:v>
                </c:pt>
                <c:pt idx="170" formatCode="#,##0">
                  <c:v>0.37964888100422117</c:v>
                </c:pt>
                <c:pt idx="171" formatCode="#,##0">
                  <c:v>0.39092791467490501</c:v>
                </c:pt>
                <c:pt idx="172" formatCode="#,##0">
                  <c:v>0.40220694834558879</c:v>
                </c:pt>
                <c:pt idx="173" formatCode="#,##0">
                  <c:v>0.41348598201627257</c:v>
                </c:pt>
                <c:pt idx="174" formatCode="#,##0">
                  <c:v>0.42476501568695635</c:v>
                </c:pt>
                <c:pt idx="175" formatCode="#,##0">
                  <c:v>0.43604404935764013</c:v>
                </c:pt>
                <c:pt idx="176" formatCode="#,##0">
                  <c:v>0.44732308302832396</c:v>
                </c:pt>
                <c:pt idx="177" formatCode="#,##0">
                  <c:v>0.45860211669900774</c:v>
                </c:pt>
                <c:pt idx="178" formatCode="#,##0">
                  <c:v>0.46988115036969152</c:v>
                </c:pt>
                <c:pt idx="179" formatCode="#,##0">
                  <c:v>0.4811601840403753</c:v>
                </c:pt>
                <c:pt idx="180" formatCode="#,##0">
                  <c:v>0.49243921771105909</c:v>
                </c:pt>
                <c:pt idx="181" formatCode="#,##0">
                  <c:v>0.50371825138174287</c:v>
                </c:pt>
                <c:pt idx="182" formatCode="#,##0">
                  <c:v>0.51499728505242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F267-42C6-AC42-927B0F02AEC7}"/>
            </c:ext>
          </c:extLst>
        </c:ser>
        <c:ser>
          <c:idx val="6"/>
          <c:order val="6"/>
          <c:tx>
            <c:strRef>
              <c:f>List1!$H$1</c:f>
              <c:strCache>
                <c:ptCount val="1"/>
                <c:pt idx="0">
                  <c:v>10 45-49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H$5:$H$187</c:f>
              <c:numCache>
                <c:formatCode>0.00%</c:formatCode>
                <c:ptCount val="183"/>
                <c:pt idx="0">
                  <c:v>1.7889928656285939E-3</c:v>
                </c:pt>
                <c:pt idx="1">
                  <c:v>1.9999110585933286E-3</c:v>
                </c:pt>
                <c:pt idx="2">
                  <c:v>2.0520053110725705E-3</c:v>
                </c:pt>
                <c:pt idx="3">
                  <c:v>2.3023118412777077E-3</c:v>
                </c:pt>
                <c:pt idx="4">
                  <c:v>2.4776534715736918E-3</c:v>
                </c:pt>
                <c:pt idx="5">
                  <c:v>3.212055372378612E-3</c:v>
                </c:pt>
                <c:pt idx="6">
                  <c:v>4.0989282560496051E-3</c:v>
                </c:pt>
                <c:pt idx="7">
                  <c:v>5.2818489647855574E-3</c:v>
                </c:pt>
                <c:pt idx="8">
                  <c:v>6.7481115833476291E-3</c:v>
                </c:pt>
                <c:pt idx="9">
                  <c:v>8.6184223065047961E-3</c:v>
                </c:pt>
                <c:pt idx="10">
                  <c:v>8.9614820179534614E-3</c:v>
                </c:pt>
                <c:pt idx="11">
                  <c:v>9.2460945193034647E-3</c:v>
                </c:pt>
                <c:pt idx="12">
                  <c:v>1.1065581581505272E-2</c:v>
                </c:pt>
                <c:pt idx="13">
                  <c:v>1.3386952295641239E-2</c:v>
                </c:pt>
                <c:pt idx="14">
                  <c:v>1.5544416703196177E-2</c:v>
                </c:pt>
                <c:pt idx="15">
                  <c:v>1.7917881669811387E-2</c:v>
                </c:pt>
                <c:pt idx="16">
                  <c:v>1.9940663375834625E-2</c:v>
                </c:pt>
                <c:pt idx="17">
                  <c:v>2.0207487595850254E-2</c:v>
                </c:pt>
                <c:pt idx="18">
                  <c:v>2.0337087931286416E-2</c:v>
                </c:pt>
                <c:pt idx="19">
                  <c:v>2.1695350270318353E-2</c:v>
                </c:pt>
                <c:pt idx="20">
                  <c:v>2.2997706582299396E-2</c:v>
                </c:pt>
                <c:pt idx="21">
                  <c:v>2.4245427458753431E-2</c:v>
                </c:pt>
                <c:pt idx="22">
                  <c:v>2.5490607152159696E-2</c:v>
                </c:pt>
                <c:pt idx="23">
                  <c:v>2.6575692313556585E-2</c:v>
                </c:pt>
                <c:pt idx="24">
                  <c:v>2.6690045550706139E-2</c:v>
                </c:pt>
                <c:pt idx="25">
                  <c:v>2.6751033943852569E-2</c:v>
                </c:pt>
                <c:pt idx="26">
                  <c:v>2.7344400185506372E-2</c:v>
                </c:pt>
                <c:pt idx="27">
                  <c:v>2.7994943045734952E-2</c:v>
                </c:pt>
                <c:pt idx="28">
                  <c:v>2.8609909343294781E-2</c:v>
                </c:pt>
                <c:pt idx="29">
                  <c:v>2.905842815122581E-2</c:v>
                </c:pt>
                <c:pt idx="30">
                  <c:v>2.9509488142204613E-2</c:v>
                </c:pt>
                <c:pt idx="31">
                  <c:v>2.9529817606586756E-2</c:v>
                </c:pt>
                <c:pt idx="32">
                  <c:v>2.9548876479445013E-2</c:v>
                </c:pt>
                <c:pt idx="33">
                  <c:v>2.9767418221553054E-2</c:v>
                </c:pt>
                <c:pt idx="34">
                  <c:v>3.0052030722903057E-2</c:v>
                </c:pt>
                <c:pt idx="35">
                  <c:v>3.0367137420826276E-2</c:v>
                </c:pt>
                <c:pt idx="36">
                  <c:v>3.0631420457794135E-2</c:v>
                </c:pt>
                <c:pt idx="37">
                  <c:v>3.0966856620099497E-2</c:v>
                </c:pt>
                <c:pt idx="38">
                  <c:v>3.0977021352290569E-2</c:v>
                </c:pt>
                <c:pt idx="39">
                  <c:v>3.098718608448164E-2</c:v>
                </c:pt>
                <c:pt idx="40">
                  <c:v>3.120953960116133E-2</c:v>
                </c:pt>
                <c:pt idx="41">
                  <c:v>3.1564034636324949E-2</c:v>
                </c:pt>
                <c:pt idx="42">
                  <c:v>3.2027800542542589E-2</c:v>
                </c:pt>
                <c:pt idx="43">
                  <c:v>3.2546201884287237E-2</c:v>
                </c:pt>
                <c:pt idx="44">
                  <c:v>3.3018861931172067E-2</c:v>
                </c:pt>
                <c:pt idx="45">
                  <c:v>3.3106532746320062E-2</c:v>
                </c:pt>
                <c:pt idx="46">
                  <c:v>3.3140838717464927E-2</c:v>
                </c:pt>
                <c:pt idx="47">
                  <c:v>3.3560133920346624E-2</c:v>
                </c:pt>
                <c:pt idx="48">
                  <c:v>3.399340562999105E-2</c:v>
                </c:pt>
                <c:pt idx="49">
                  <c:v>3.4537218802213381E-2</c:v>
                </c:pt>
                <c:pt idx="50">
                  <c:v>3.5246208872540624E-2</c:v>
                </c:pt>
                <c:pt idx="51">
                  <c:v>3.6006022603823219E-2</c:v>
                </c:pt>
                <c:pt idx="52">
                  <c:v>3.6129269981639962E-2</c:v>
                </c:pt>
                <c:pt idx="53">
                  <c:v>3.6199152515453581E-2</c:v>
                </c:pt>
                <c:pt idx="54">
                  <c:v>3.6742965687675912E-2</c:v>
                </c:pt>
                <c:pt idx="55">
                  <c:v>3.756503840362882E-2</c:v>
                </c:pt>
                <c:pt idx="56">
                  <c:v>3.8444287738156509E-2</c:v>
                </c:pt>
                <c:pt idx="57">
                  <c:v>3.9642455545179069E-2</c:v>
                </c:pt>
                <c:pt idx="58">
                  <c:v>4.0697046510002742E-2</c:v>
                </c:pt>
                <c:pt idx="59">
                  <c:v>4.0863493999631538E-2</c:v>
                </c:pt>
                <c:pt idx="60">
                  <c:v>4.1028670897736451E-2</c:v>
                </c:pt>
                <c:pt idx="61">
                  <c:v>4.2605474978876429E-2</c:v>
                </c:pt>
                <c:pt idx="62">
                  <c:v>4.4734986372905919E-2</c:v>
                </c:pt>
                <c:pt idx="63">
                  <c:v>4.7156733817428721E-2</c:v>
                </c:pt>
                <c:pt idx="64">
                  <c:v>4.9384080758797272E-2</c:v>
                </c:pt>
                <c:pt idx="65">
                  <c:v>5.1366203536056226E-2</c:v>
                </c:pt>
                <c:pt idx="66">
                  <c:v>5.2166676196103108E-2</c:v>
                </c:pt>
                <c:pt idx="67">
                  <c:v>5.3138678711874332E-2</c:v>
                </c:pt>
                <c:pt idx="68">
                  <c:v>5.5039483631604713E-2</c:v>
                </c:pt>
                <c:pt idx="69">
                  <c:v>5.7703914057189339E-2</c:v>
                </c:pt>
                <c:pt idx="70">
                  <c:v>5.9686036834448293E-2</c:v>
                </c:pt>
                <c:pt idx="71">
                  <c:v>6.2096348955256141E-2</c:v>
                </c:pt>
                <c:pt idx="72">
                  <c:v>6.4415178486344343E-2</c:v>
                </c:pt>
                <c:pt idx="73">
                  <c:v>6.5558710857839889E-2</c:v>
                </c:pt>
                <c:pt idx="74">
                  <c:v>6.6237206731593917E-2</c:v>
                </c:pt>
                <c:pt idx="75">
                  <c:v>6.781909317882942E-2</c:v>
                </c:pt>
                <c:pt idx="76">
                  <c:v>7.0258628904686593E-2</c:v>
                </c:pt>
                <c:pt idx="77">
                  <c:v>7.2233128132802249E-2</c:v>
                </c:pt>
                <c:pt idx="78">
                  <c:v>7.4126309503389332E-2</c:v>
                </c:pt>
                <c:pt idx="79">
                  <c:v>7.6192291321224626E-2</c:v>
                </c:pt>
                <c:pt idx="80">
                  <c:v>7.69927639812715E-2</c:v>
                </c:pt>
                <c:pt idx="81">
                  <c:v>7.7375212029960574E-2</c:v>
                </c:pt>
                <c:pt idx="82">
                  <c:v>7.8827498141759919E-2</c:v>
                </c:pt>
                <c:pt idx="83">
                  <c:v>8.0352207970420655E-2</c:v>
                </c:pt>
                <c:pt idx="84">
                  <c:v>8.1831176504221559E-2</c:v>
                </c:pt>
                <c:pt idx="85">
                  <c:v>8.3357156924406178E-2</c:v>
                </c:pt>
                <c:pt idx="86">
                  <c:v>8.5180455761179649E-2</c:v>
                </c:pt>
                <c:pt idx="87">
                  <c:v>8.5546386120058215E-2</c:v>
                </c:pt>
                <c:pt idx="88">
                  <c:v>8.6053352138087916E-2</c:v>
                </c:pt>
                <c:pt idx="89">
                  <c:v>8.7251519945110476E-2</c:v>
                </c:pt>
                <c:pt idx="90">
                  <c:v>8.9142160132649778E-2</c:v>
                </c:pt>
                <c:pt idx="91">
                  <c:v>9.0647811088452254E-2</c:v>
                </c:pt>
                <c:pt idx="92">
                  <c:v>9.2178873874732406E-2</c:v>
                </c:pt>
                <c:pt idx="93">
                  <c:v>9.258419257085139E-2</c:v>
                </c:pt>
                <c:pt idx="94">
                  <c:v>9.2833228509532642E-2</c:v>
                </c:pt>
                <c:pt idx="95">
                  <c:v>9.2974264168683762E-2</c:v>
                </c:pt>
                <c:pt idx="96">
                  <c:v>9.3078452673642245E-2</c:v>
                </c:pt>
                <c:pt idx="97">
                  <c:v>9.3953890233598278E-2</c:v>
                </c:pt>
                <c:pt idx="98">
                  <c:v>9.5431588175875312E-2</c:v>
                </c:pt>
                <c:pt idx="99">
                  <c:v>9.7449287515803007E-2</c:v>
                </c:pt>
                <c:pt idx="100">
                  <c:v>0.10018232988367738</c:v>
                </c:pt>
                <c:pt idx="101">
                  <c:v>0.10132840343822069</c:v>
                </c:pt>
                <c:pt idx="102">
                  <c:v>0.10195861683406714</c:v>
                </c:pt>
                <c:pt idx="103">
                  <c:v>0.10401443391971135</c:v>
                </c:pt>
                <c:pt idx="104">
                  <c:v>0.10616046300355134</c:v>
                </c:pt>
                <c:pt idx="105">
                  <c:v>0.10843355123977971</c:v>
                </c:pt>
                <c:pt idx="106">
                  <c:v>0.11116659360765407</c:v>
                </c:pt>
                <c:pt idx="107">
                  <c:v>0.11507112136054944</c:v>
                </c:pt>
                <c:pt idx="108">
                  <c:v>0.11649926623339499</c:v>
                </c:pt>
                <c:pt idx="109">
                  <c:v>0.11760213967612626</c:v>
                </c:pt>
                <c:pt idx="110">
                  <c:v>0.12051814722343991</c:v>
                </c:pt>
                <c:pt idx="111">
                  <c:v>0.12323975426759931</c:v>
                </c:pt>
                <c:pt idx="112">
                  <c:v>0.12607952632347993</c:v>
                </c:pt>
                <c:pt idx="113">
                  <c:v>0.12904127516565342</c:v>
                </c:pt>
                <c:pt idx="114">
                  <c:v>0.1325239665326193</c:v>
                </c:pt>
                <c:pt idx="115">
                  <c:v>0.13377295800059721</c:v>
                </c:pt>
                <c:pt idx="116">
                  <c:v>0.13465093674360101</c:v>
                </c:pt>
                <c:pt idx="117">
                  <c:v>0.13674614216648565</c:v>
                </c:pt>
                <c:pt idx="118">
                  <c:v>0.13857579396087852</c:v>
                </c:pt>
                <c:pt idx="119">
                  <c:v>0.14091114118177722</c:v>
                </c:pt>
                <c:pt idx="120">
                  <c:v>0.14336465341439711</c:v>
                </c:pt>
                <c:pt idx="121">
                  <c:v>0.14651699098515319</c:v>
                </c:pt>
                <c:pt idx="122">
                  <c:v>0.14730602832148512</c:v>
                </c:pt>
                <c:pt idx="123">
                  <c:v>0.14805948909514829</c:v>
                </c:pt>
                <c:pt idx="124">
                  <c:v>0.15082429625111976</c:v>
                </c:pt>
                <c:pt idx="125">
                  <c:v>0.15386482176777402</c:v>
                </c:pt>
                <c:pt idx="126">
                  <c:v>0.15709593601301092</c:v>
                </c:pt>
                <c:pt idx="127">
                  <c:v>0.16110465227086476</c:v>
                </c:pt>
                <c:pt idx="128">
                  <c:v>0.1652874395674907</c:v>
                </c:pt>
                <c:pt idx="129">
                  <c:v>0.16675878455214829</c:v>
                </c:pt>
                <c:pt idx="130">
                  <c:v>0.16778288132039876</c:v>
                </c:pt>
                <c:pt idx="131">
                  <c:v>0.170889477596295</c:v>
                </c:pt>
                <c:pt idx="132">
                  <c:v>0.20472278869427668</c:v>
                </c:pt>
                <c:pt idx="133">
                  <c:v>0.23855609979225836</c:v>
                </c:pt>
                <c:pt idx="134">
                  <c:v>0.27238941089024005</c:v>
                </c:pt>
                <c:pt idx="135">
                  <c:v>0.3062227219882217</c:v>
                </c:pt>
                <c:pt idx="136">
                  <c:v>0.34005603308620336</c:v>
                </c:pt>
                <c:pt idx="137">
                  <c:v>0.37388934418418507</c:v>
                </c:pt>
                <c:pt idx="138">
                  <c:v>0.40772265528216672</c:v>
                </c:pt>
                <c:pt idx="139">
                  <c:v>0.44155596638014843</c:v>
                </c:pt>
                <c:pt idx="140">
                  <c:v>0.47538927747813009</c:v>
                </c:pt>
                <c:pt idx="141">
                  <c:v>0.5092225885761118</c:v>
                </c:pt>
                <c:pt idx="142">
                  <c:v>0.5430558996740934</c:v>
                </c:pt>
                <c:pt idx="143">
                  <c:v>0.57688921077207511</c:v>
                </c:pt>
                <c:pt idx="144">
                  <c:v>0.61072252187005682</c:v>
                </c:pt>
                <c:pt idx="145">
                  <c:v>0.64455583296803842</c:v>
                </c:pt>
                <c:pt idx="146">
                  <c:v>0.67838914406602013</c:v>
                </c:pt>
                <c:pt idx="147">
                  <c:v>0.71222245516400184</c:v>
                </c:pt>
                <c:pt idx="148">
                  <c:v>0.74605576626198344</c:v>
                </c:pt>
                <c:pt idx="149">
                  <c:v>0.77988907735996515</c:v>
                </c:pt>
                <c:pt idx="150">
                  <c:v>0.81372238845794687</c:v>
                </c:pt>
                <c:pt idx="151">
                  <c:v>0.81372238845794687</c:v>
                </c:pt>
                <c:pt idx="152">
                  <c:v>0.81372238845794687</c:v>
                </c:pt>
                <c:pt idx="153" formatCode="#,##0">
                  <c:v>0.81372238845794687</c:v>
                </c:pt>
                <c:pt idx="154" formatCode="#,##0">
                  <c:v>0.81372238845794687</c:v>
                </c:pt>
                <c:pt idx="155" formatCode="#,##0">
                  <c:v>0.81372238845794687</c:v>
                </c:pt>
                <c:pt idx="156" formatCode="#,##0">
                  <c:v>0.81372238845794687</c:v>
                </c:pt>
                <c:pt idx="157" formatCode="#,##0">
                  <c:v>0.81372238845794687</c:v>
                </c:pt>
                <c:pt idx="158" formatCode="#,##0">
                  <c:v>0.81372238845794687</c:v>
                </c:pt>
                <c:pt idx="159" formatCode="#,##0">
                  <c:v>0.81372238845794687</c:v>
                </c:pt>
                <c:pt idx="160" formatCode="#,##0">
                  <c:v>0.81372238845794687</c:v>
                </c:pt>
                <c:pt idx="161" formatCode="#,##0">
                  <c:v>0.81372238845794687</c:v>
                </c:pt>
                <c:pt idx="162" formatCode="#,##0">
                  <c:v>0.81372238845794687</c:v>
                </c:pt>
                <c:pt idx="163" formatCode="#,##0">
                  <c:v>0.81372238845794687</c:v>
                </c:pt>
                <c:pt idx="164" formatCode="#,##0">
                  <c:v>0.81372238845794687</c:v>
                </c:pt>
                <c:pt idx="165" formatCode="#,##0">
                  <c:v>0.81372238845794687</c:v>
                </c:pt>
                <c:pt idx="166" formatCode="#,##0">
                  <c:v>0.81372238845794687</c:v>
                </c:pt>
                <c:pt idx="167" formatCode="#,##0">
                  <c:v>0.81372238845794687</c:v>
                </c:pt>
                <c:pt idx="168" formatCode="#,##0">
                  <c:v>0.81372238845794687</c:v>
                </c:pt>
                <c:pt idx="169" formatCode="#,##0">
                  <c:v>0.81372238845794687</c:v>
                </c:pt>
                <c:pt idx="170" formatCode="#,##0">
                  <c:v>0.81372238845794687</c:v>
                </c:pt>
                <c:pt idx="171" formatCode="#,##0">
                  <c:v>0.81372238845794687</c:v>
                </c:pt>
                <c:pt idx="172" formatCode="#,##0">
                  <c:v>0.81372238845794687</c:v>
                </c:pt>
                <c:pt idx="173" formatCode="#,##0">
                  <c:v>0.81372238845794687</c:v>
                </c:pt>
                <c:pt idx="174" formatCode="#,##0">
                  <c:v>0.81372238845794687</c:v>
                </c:pt>
                <c:pt idx="175" formatCode="#,##0">
                  <c:v>0.81372238845794687</c:v>
                </c:pt>
                <c:pt idx="176" formatCode="#,##0">
                  <c:v>0.81372238845794687</c:v>
                </c:pt>
                <c:pt idx="177" formatCode="#,##0">
                  <c:v>0.81372238845794687</c:v>
                </c:pt>
                <c:pt idx="178" formatCode="#,##0">
                  <c:v>0.81372238845794687</c:v>
                </c:pt>
                <c:pt idx="179" formatCode="#,##0">
                  <c:v>0.81372238845794687</c:v>
                </c:pt>
                <c:pt idx="180" formatCode="#,##0">
                  <c:v>0.81372238845794687</c:v>
                </c:pt>
                <c:pt idx="181" formatCode="#,##0">
                  <c:v>0.81372238845794687</c:v>
                </c:pt>
                <c:pt idx="182" formatCode="#,##0">
                  <c:v>0.813722388457946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3-F267-42C6-AC42-927B0F02AEC7}"/>
            </c:ext>
          </c:extLst>
        </c:ser>
        <c:ser>
          <c:idx val="7"/>
          <c:order val="7"/>
          <c:tx>
            <c:strRef>
              <c:f>List1!$I$1</c:f>
              <c:strCache>
                <c:ptCount val="1"/>
                <c:pt idx="0">
                  <c:v>11 50-54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I$5:$I$187</c:f>
              <c:numCache>
                <c:formatCode>0.00%</c:formatCode>
                <c:ptCount val="183"/>
                <c:pt idx="0">
                  <c:v>1.5997872730925038E-3</c:v>
                </c:pt>
                <c:pt idx="1">
                  <c:v>1.7732059476824771E-3</c:v>
                </c:pt>
                <c:pt idx="2">
                  <c:v>1.8208960831947198E-3</c:v>
                </c:pt>
                <c:pt idx="3">
                  <c:v>2.0289984927026878E-3</c:v>
                </c:pt>
                <c:pt idx="4">
                  <c:v>2.1894107666984132E-3</c:v>
                </c:pt>
                <c:pt idx="5">
                  <c:v>2.7848148827906549E-3</c:v>
                </c:pt>
                <c:pt idx="6">
                  <c:v>3.6013278089851125E-3</c:v>
                </c:pt>
                <c:pt idx="7">
                  <c:v>4.6360592340386197E-3</c:v>
                </c:pt>
                <c:pt idx="8">
                  <c:v>5.9684927171382478E-3</c:v>
                </c:pt>
                <c:pt idx="9">
                  <c:v>7.5812863908249995E-3</c:v>
                </c:pt>
                <c:pt idx="10">
                  <c:v>7.8602014257905407E-3</c:v>
                </c:pt>
                <c:pt idx="11">
                  <c:v>8.1304455270265821E-3</c:v>
                </c:pt>
                <c:pt idx="12">
                  <c:v>9.6666459527694291E-3</c:v>
                </c:pt>
                <c:pt idx="13">
                  <c:v>1.1568470750772802E-2</c:v>
                </c:pt>
                <c:pt idx="14">
                  <c:v>1.3635043289636651E-2</c:v>
                </c:pt>
                <c:pt idx="15">
                  <c:v>1.5810002500119234E-2</c:v>
                </c:pt>
                <c:pt idx="16">
                  <c:v>1.789825237330683E-2</c:v>
                </c:pt>
                <c:pt idx="17">
                  <c:v>1.8203180209460865E-2</c:v>
                </c:pt>
                <c:pt idx="18">
                  <c:v>1.8328908748538597E-2</c:v>
                </c:pt>
                <c:pt idx="19">
                  <c:v>1.9641110052936062E-2</c:v>
                </c:pt>
                <c:pt idx="20">
                  <c:v>2.0901285754956533E-2</c:v>
                </c:pt>
                <c:pt idx="21">
                  <c:v>2.2214932214975582E-2</c:v>
                </c:pt>
                <c:pt idx="22">
                  <c:v>2.3534359297480961E-2</c:v>
                </c:pt>
                <c:pt idx="23">
                  <c:v>2.4527181209508558E-2</c:v>
                </c:pt>
                <c:pt idx="24">
                  <c:v>2.466736130480212E-2</c:v>
                </c:pt>
                <c:pt idx="25">
                  <c:v>2.4726612685287027E-2</c:v>
                </c:pt>
                <c:pt idx="26">
                  <c:v>2.5278662132731777E-2</c:v>
                </c:pt>
                <c:pt idx="27">
                  <c:v>2.6002685099144916E-2</c:v>
                </c:pt>
                <c:pt idx="28">
                  <c:v>2.6587973125886073E-2</c:v>
                </c:pt>
                <c:pt idx="29">
                  <c:v>2.6986836077443014E-2</c:v>
                </c:pt>
                <c:pt idx="30">
                  <c:v>2.7400150585215784E-2</c:v>
                </c:pt>
                <c:pt idx="31">
                  <c:v>2.7421827919539531E-2</c:v>
                </c:pt>
                <c:pt idx="32">
                  <c:v>2.7437724631376944E-2</c:v>
                </c:pt>
                <c:pt idx="33">
                  <c:v>2.7676175308938157E-2</c:v>
                </c:pt>
                <c:pt idx="34">
                  <c:v>2.7933413009579952E-2</c:v>
                </c:pt>
                <c:pt idx="35">
                  <c:v>2.8235450534490822E-2</c:v>
                </c:pt>
                <c:pt idx="36">
                  <c:v>2.8495578546375782E-2</c:v>
                </c:pt>
                <c:pt idx="37">
                  <c:v>2.8783164515070819E-2</c:v>
                </c:pt>
                <c:pt idx="38">
                  <c:v>2.8796170915665067E-2</c:v>
                </c:pt>
                <c:pt idx="39">
                  <c:v>2.88106224718809E-2</c:v>
                </c:pt>
                <c:pt idx="40">
                  <c:v>2.9004273325173035E-2</c:v>
                </c:pt>
                <c:pt idx="41">
                  <c:v>2.929908507197599E-2</c:v>
                </c:pt>
                <c:pt idx="42">
                  <c:v>2.9710954424127176E-2</c:v>
                </c:pt>
                <c:pt idx="43">
                  <c:v>3.0171959067412189E-2</c:v>
                </c:pt>
                <c:pt idx="44">
                  <c:v>3.0660421667507282E-2</c:v>
                </c:pt>
                <c:pt idx="45">
                  <c:v>3.0755801938531765E-2</c:v>
                </c:pt>
                <c:pt idx="46">
                  <c:v>3.083673065334042E-2</c:v>
                </c:pt>
                <c:pt idx="47">
                  <c:v>3.1205245336844115E-2</c:v>
                </c:pt>
                <c:pt idx="48">
                  <c:v>3.162289531148163E-2</c:v>
                </c:pt>
                <c:pt idx="49">
                  <c:v>3.2250092851248705E-2</c:v>
                </c:pt>
                <c:pt idx="50">
                  <c:v>3.2950993327716512E-2</c:v>
                </c:pt>
                <c:pt idx="51">
                  <c:v>3.3719816118398728E-2</c:v>
                </c:pt>
                <c:pt idx="52">
                  <c:v>3.3823867323152713E-2</c:v>
                </c:pt>
                <c:pt idx="53">
                  <c:v>3.3859996213692289E-2</c:v>
                </c:pt>
                <c:pt idx="54">
                  <c:v>3.4440948773568701E-2</c:v>
                </c:pt>
                <c:pt idx="55">
                  <c:v>3.5274803567222152E-2</c:v>
                </c:pt>
                <c:pt idx="56">
                  <c:v>3.6230051433088592E-2</c:v>
                </c:pt>
                <c:pt idx="57">
                  <c:v>3.7420859665273074E-2</c:v>
                </c:pt>
                <c:pt idx="58">
                  <c:v>3.8498945758974078E-2</c:v>
                </c:pt>
                <c:pt idx="59">
                  <c:v>3.864057100988922E-2</c:v>
                </c:pt>
                <c:pt idx="60">
                  <c:v>3.886312497561302E-2</c:v>
                </c:pt>
                <c:pt idx="61">
                  <c:v>4.0394989934491116E-2</c:v>
                </c:pt>
                <c:pt idx="62">
                  <c:v>4.2743367819563671E-2</c:v>
                </c:pt>
                <c:pt idx="63">
                  <c:v>4.5194351753768625E-2</c:v>
                </c:pt>
                <c:pt idx="64">
                  <c:v>4.7390988298574958E-2</c:v>
                </c:pt>
                <c:pt idx="65">
                  <c:v>4.9487909105492049E-2</c:v>
                </c:pt>
                <c:pt idx="66">
                  <c:v>5.0560214576706716E-2</c:v>
                </c:pt>
                <c:pt idx="67">
                  <c:v>5.1623849114191885E-2</c:v>
                </c:pt>
                <c:pt idx="68">
                  <c:v>5.3713544143001064E-2</c:v>
                </c:pt>
                <c:pt idx="69">
                  <c:v>5.6697790501570193E-2</c:v>
                </c:pt>
                <c:pt idx="70">
                  <c:v>5.8878530334539103E-2</c:v>
                </c:pt>
                <c:pt idx="71">
                  <c:v>6.1342520669338312E-2</c:v>
                </c:pt>
                <c:pt idx="72">
                  <c:v>6.3568060326576303E-2</c:v>
                </c:pt>
                <c:pt idx="73">
                  <c:v>6.4637475486547802E-2</c:v>
                </c:pt>
                <c:pt idx="74">
                  <c:v>6.5406298277230018E-2</c:v>
                </c:pt>
                <c:pt idx="75">
                  <c:v>6.6842782965083627E-2</c:v>
                </c:pt>
                <c:pt idx="76">
                  <c:v>6.958857864609154E-2</c:v>
                </c:pt>
                <c:pt idx="77">
                  <c:v>7.1819898925815862E-2</c:v>
                </c:pt>
                <c:pt idx="78">
                  <c:v>7.4110470586025087E-2</c:v>
                </c:pt>
                <c:pt idx="79">
                  <c:v>7.6505093450988312E-2</c:v>
                </c:pt>
                <c:pt idx="80">
                  <c:v>7.7866430046519594E-2</c:v>
                </c:pt>
                <c:pt idx="81">
                  <c:v>7.841125371585643E-2</c:v>
                </c:pt>
                <c:pt idx="82">
                  <c:v>7.9980692720895696E-2</c:v>
                </c:pt>
                <c:pt idx="83">
                  <c:v>8.1592041238960855E-2</c:v>
                </c:pt>
                <c:pt idx="84">
                  <c:v>8.3099338552272042E-2</c:v>
                </c:pt>
                <c:pt idx="85">
                  <c:v>8.4530042617639328E-2</c:v>
                </c:pt>
                <c:pt idx="86">
                  <c:v>8.6264229363539058E-2</c:v>
                </c:pt>
                <c:pt idx="87">
                  <c:v>8.6690550271906072E-2</c:v>
                </c:pt>
                <c:pt idx="88">
                  <c:v>8.7030161842978099E-2</c:v>
                </c:pt>
                <c:pt idx="89">
                  <c:v>8.8059112645545279E-2</c:v>
                </c:pt>
                <c:pt idx="90">
                  <c:v>8.9658899918637777E-2</c:v>
                </c:pt>
                <c:pt idx="91">
                  <c:v>9.1043359004114408E-2</c:v>
                </c:pt>
                <c:pt idx="92">
                  <c:v>9.2608462542288911E-2</c:v>
                </c:pt>
                <c:pt idx="93">
                  <c:v>9.3141724966653086E-2</c:v>
                </c:pt>
                <c:pt idx="94">
                  <c:v>9.3406188445402785E-2</c:v>
                </c:pt>
                <c:pt idx="95">
                  <c:v>9.3620071477397093E-2</c:v>
                </c:pt>
                <c:pt idx="96">
                  <c:v>9.3841180287499312E-2</c:v>
                </c:pt>
                <c:pt idx="97">
                  <c:v>9.494238887114563E-2</c:v>
                </c:pt>
                <c:pt idx="98">
                  <c:v>9.6612988769695707E-2</c:v>
                </c:pt>
                <c:pt idx="99">
                  <c:v>9.8708464420991224E-2</c:v>
                </c:pt>
                <c:pt idx="100">
                  <c:v>0.10119846755697892</c:v>
                </c:pt>
                <c:pt idx="101">
                  <c:v>0.1021594960453317</c:v>
                </c:pt>
                <c:pt idx="102">
                  <c:v>0.10265084895666995</c:v>
                </c:pt>
                <c:pt idx="103">
                  <c:v>0.1047766728760187</c:v>
                </c:pt>
                <c:pt idx="104">
                  <c:v>0.1070961476486596</c:v>
                </c:pt>
                <c:pt idx="105">
                  <c:v>0.10947198349054224</c:v>
                </c:pt>
                <c:pt idx="106">
                  <c:v>0.11231315944257463</c:v>
                </c:pt>
                <c:pt idx="107">
                  <c:v>0.11583644884799425</c:v>
                </c:pt>
                <c:pt idx="108">
                  <c:v>0.11740733300865509</c:v>
                </c:pt>
                <c:pt idx="109">
                  <c:v>0.11837125180825103</c:v>
                </c:pt>
                <c:pt idx="110">
                  <c:v>0.12163874866865045</c:v>
                </c:pt>
                <c:pt idx="111">
                  <c:v>0.1244409054189001</c:v>
                </c:pt>
                <c:pt idx="112">
                  <c:v>0.1274439388005498</c:v>
                </c:pt>
                <c:pt idx="113">
                  <c:v>0.13071577112781396</c:v>
                </c:pt>
                <c:pt idx="114">
                  <c:v>0.13460757521673727</c:v>
                </c:pt>
                <c:pt idx="115">
                  <c:v>0.13564086148616922</c:v>
                </c:pt>
                <c:pt idx="116">
                  <c:v>0.13639523272063558</c:v>
                </c:pt>
                <c:pt idx="117">
                  <c:v>0.13844735370328362</c:v>
                </c:pt>
                <c:pt idx="118">
                  <c:v>0.14037085583561074</c:v>
                </c:pt>
                <c:pt idx="119">
                  <c:v>0.1429056587958675</c:v>
                </c:pt>
                <c:pt idx="120">
                  <c:v>0.14551416469282502</c:v>
                </c:pt>
                <c:pt idx="121">
                  <c:v>0.14866604910349779</c:v>
                </c:pt>
                <c:pt idx="122">
                  <c:v>0.1495374779433124</c:v>
                </c:pt>
                <c:pt idx="123">
                  <c:v>0.1503005201115083</c:v>
                </c:pt>
                <c:pt idx="124">
                  <c:v>0.15319516682153925</c:v>
                </c:pt>
                <c:pt idx="125">
                  <c:v>0.15649301194999191</c:v>
                </c:pt>
                <c:pt idx="126">
                  <c:v>0.16135307030537591</c:v>
                </c:pt>
                <c:pt idx="127">
                  <c:v>0.17476555962928877</c:v>
                </c:pt>
                <c:pt idx="128">
                  <c:v>0.19149612626035645</c:v>
                </c:pt>
                <c:pt idx="129">
                  <c:v>0.20217727145947723</c:v>
                </c:pt>
                <c:pt idx="130">
                  <c:v>0.21142193197074438</c:v>
                </c:pt>
                <c:pt idx="131">
                  <c:v>0.24278614442596264</c:v>
                </c:pt>
                <c:pt idx="132">
                  <c:v>0.27661868268284484</c:v>
                </c:pt>
                <c:pt idx="133">
                  <c:v>0.31045122093972705</c:v>
                </c:pt>
                <c:pt idx="134">
                  <c:v>0.34428375919660925</c:v>
                </c:pt>
                <c:pt idx="135">
                  <c:v>0.37811629745349146</c:v>
                </c:pt>
                <c:pt idx="136">
                  <c:v>0.41194883571037366</c:v>
                </c:pt>
                <c:pt idx="137">
                  <c:v>0.44578137396725587</c:v>
                </c:pt>
                <c:pt idx="138">
                  <c:v>0.47961391222413807</c:v>
                </c:pt>
                <c:pt idx="139">
                  <c:v>0.51344645048102033</c:v>
                </c:pt>
                <c:pt idx="140">
                  <c:v>0.54727898873790248</c:v>
                </c:pt>
                <c:pt idx="141">
                  <c:v>0.58111152699478474</c:v>
                </c:pt>
                <c:pt idx="142">
                  <c:v>0.61494406525166689</c:v>
                </c:pt>
                <c:pt idx="143">
                  <c:v>0.64877660350854915</c:v>
                </c:pt>
                <c:pt idx="144">
                  <c:v>0.6826091417654313</c:v>
                </c:pt>
                <c:pt idx="145">
                  <c:v>0.71644168002231357</c:v>
                </c:pt>
                <c:pt idx="146">
                  <c:v>0.75027421827919583</c:v>
                </c:pt>
                <c:pt idx="147">
                  <c:v>0.78410675653607798</c:v>
                </c:pt>
                <c:pt idx="148">
                  <c:v>0.81793929479296024</c:v>
                </c:pt>
                <c:pt idx="149">
                  <c:v>0.81793929479296024</c:v>
                </c:pt>
                <c:pt idx="150">
                  <c:v>0.81793929479296024</c:v>
                </c:pt>
                <c:pt idx="151">
                  <c:v>0.81793929479296024</c:v>
                </c:pt>
                <c:pt idx="152">
                  <c:v>0.81793929479296024</c:v>
                </c:pt>
                <c:pt idx="153">
                  <c:v>0.81793929479296024</c:v>
                </c:pt>
                <c:pt idx="154">
                  <c:v>0.81793929479296024</c:v>
                </c:pt>
                <c:pt idx="155">
                  <c:v>0.81793929479296024</c:v>
                </c:pt>
                <c:pt idx="156">
                  <c:v>0.81793929479296024</c:v>
                </c:pt>
                <c:pt idx="157">
                  <c:v>0.81793929479296024</c:v>
                </c:pt>
                <c:pt idx="158">
                  <c:v>0.81793929479296024</c:v>
                </c:pt>
                <c:pt idx="159">
                  <c:v>0.81793929479296024</c:v>
                </c:pt>
                <c:pt idx="160">
                  <c:v>0.81793929479296024</c:v>
                </c:pt>
                <c:pt idx="161">
                  <c:v>0.81793929479296024</c:v>
                </c:pt>
                <c:pt idx="162">
                  <c:v>0.81793929479296024</c:v>
                </c:pt>
                <c:pt idx="163">
                  <c:v>0.81793929479296024</c:v>
                </c:pt>
                <c:pt idx="164">
                  <c:v>0.81793929479296024</c:v>
                </c:pt>
                <c:pt idx="165">
                  <c:v>0.81793929479296024</c:v>
                </c:pt>
                <c:pt idx="166">
                  <c:v>0.81793929479296024</c:v>
                </c:pt>
                <c:pt idx="167">
                  <c:v>0.81793929479296024</c:v>
                </c:pt>
                <c:pt idx="168">
                  <c:v>0.81793929479296024</c:v>
                </c:pt>
                <c:pt idx="169">
                  <c:v>0.81793929479296024</c:v>
                </c:pt>
                <c:pt idx="170">
                  <c:v>0.81793929479296024</c:v>
                </c:pt>
                <c:pt idx="171">
                  <c:v>0.81793929479296024</c:v>
                </c:pt>
                <c:pt idx="172">
                  <c:v>0.81793929479296024</c:v>
                </c:pt>
                <c:pt idx="173">
                  <c:v>0.81793929479296024</c:v>
                </c:pt>
                <c:pt idx="174">
                  <c:v>0.81793929479296024</c:v>
                </c:pt>
                <c:pt idx="175">
                  <c:v>0.81793929479296024</c:v>
                </c:pt>
                <c:pt idx="176">
                  <c:v>0.81793929479296024</c:v>
                </c:pt>
                <c:pt idx="177">
                  <c:v>0.81793929479296024</c:v>
                </c:pt>
                <c:pt idx="178">
                  <c:v>0.81793929479296024</c:v>
                </c:pt>
                <c:pt idx="179">
                  <c:v>0.81793929479296024</c:v>
                </c:pt>
                <c:pt idx="180">
                  <c:v>0.81793929479296024</c:v>
                </c:pt>
                <c:pt idx="181">
                  <c:v>0.81793929479296024</c:v>
                </c:pt>
                <c:pt idx="182">
                  <c:v>0.817939294792960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4-F267-42C6-AC42-927B0F02AEC7}"/>
            </c:ext>
          </c:extLst>
        </c:ser>
        <c:ser>
          <c:idx val="8"/>
          <c:order val="8"/>
          <c:tx>
            <c:strRef>
              <c:f>List1!$J$1</c:f>
              <c:strCache>
                <c:ptCount val="1"/>
                <c:pt idx="0">
                  <c:v>12 55-59</c:v>
                </c:pt>
              </c:strCache>
            </c:strRef>
          </c:tx>
          <c:spPr>
            <a:ln w="2857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J$5:$J$187</c:f>
              <c:numCache>
                <c:formatCode>0.00%</c:formatCode>
                <c:ptCount val="183"/>
                <c:pt idx="0">
                  <c:v>1.6188931355429026E-3</c:v>
                </c:pt>
                <c:pt idx="1">
                  <c:v>1.7987701506032251E-3</c:v>
                </c:pt>
                <c:pt idx="2">
                  <c:v>1.8465251103537532E-3</c:v>
                </c:pt>
                <c:pt idx="3">
                  <c:v>2.0486877732976555E-3</c:v>
                </c:pt>
                <c:pt idx="4">
                  <c:v>2.2078709724660823E-3</c:v>
                </c:pt>
                <c:pt idx="5">
                  <c:v>2.8796240729568445E-3</c:v>
                </c:pt>
                <c:pt idx="6">
                  <c:v>3.7089685406243491E-3</c:v>
                </c:pt>
                <c:pt idx="7">
                  <c:v>4.7468429992024927E-3</c:v>
                </c:pt>
                <c:pt idx="8">
                  <c:v>6.0792063762422268E-3</c:v>
                </c:pt>
                <c:pt idx="9">
                  <c:v>7.6885485198350239E-3</c:v>
                </c:pt>
                <c:pt idx="10">
                  <c:v>8.0292005660554579E-3</c:v>
                </c:pt>
                <c:pt idx="11">
                  <c:v>8.3252813165087328E-3</c:v>
                </c:pt>
                <c:pt idx="12">
                  <c:v>9.9776029238770048E-3</c:v>
                </c:pt>
                <c:pt idx="13">
                  <c:v>1.1991270393357605E-2</c:v>
                </c:pt>
                <c:pt idx="14">
                  <c:v>1.4127508926197897E-2</c:v>
                </c:pt>
                <c:pt idx="15">
                  <c:v>1.6496154929824088E-2</c:v>
                </c:pt>
                <c:pt idx="16">
                  <c:v>1.8689699414365015E-2</c:v>
                </c:pt>
                <c:pt idx="17">
                  <c:v>1.8990555660793339E-2</c:v>
                </c:pt>
                <c:pt idx="18">
                  <c:v>1.9127453212078187E-2</c:v>
                </c:pt>
                <c:pt idx="19">
                  <c:v>2.053781635671045E-2</c:v>
                </c:pt>
                <c:pt idx="20">
                  <c:v>2.1962505989267873E-2</c:v>
                </c:pt>
                <c:pt idx="21">
                  <c:v>2.3376052797883504E-2</c:v>
                </c:pt>
                <c:pt idx="22">
                  <c:v>2.4802334262432609E-2</c:v>
                </c:pt>
                <c:pt idx="23">
                  <c:v>2.5975514440303916E-2</c:v>
                </c:pt>
                <c:pt idx="24">
                  <c:v>2.6133105807480659E-2</c:v>
                </c:pt>
                <c:pt idx="25">
                  <c:v>2.6196779087148032E-2</c:v>
                </c:pt>
                <c:pt idx="26">
                  <c:v>2.6828736387846688E-2</c:v>
                </c:pt>
                <c:pt idx="27">
                  <c:v>2.7651713527547455E-2</c:v>
                </c:pt>
                <c:pt idx="28">
                  <c:v>2.8340976779946743E-2</c:v>
                </c:pt>
                <c:pt idx="29">
                  <c:v>2.8797832561560127E-2</c:v>
                </c:pt>
                <c:pt idx="30">
                  <c:v>2.9267422999106989E-2</c:v>
                </c:pt>
                <c:pt idx="31">
                  <c:v>2.9302443302924041E-2</c:v>
                </c:pt>
                <c:pt idx="32">
                  <c:v>2.9324728950807621E-2</c:v>
                </c:pt>
                <c:pt idx="33">
                  <c:v>2.9550769093626788E-2</c:v>
                </c:pt>
                <c:pt idx="34">
                  <c:v>2.9830931524163218E-2</c:v>
                </c:pt>
                <c:pt idx="35">
                  <c:v>3.0130195938599863E-2</c:v>
                </c:pt>
                <c:pt idx="36">
                  <c:v>3.0396031881211136E-2</c:v>
                </c:pt>
                <c:pt idx="37">
                  <c:v>3.075896957531515E-2</c:v>
                </c:pt>
                <c:pt idx="38">
                  <c:v>3.0784438887182096E-2</c:v>
                </c:pt>
                <c:pt idx="39">
                  <c:v>3.0805132703073994E-2</c:v>
                </c:pt>
                <c:pt idx="40">
                  <c:v>3.1043907501826631E-2</c:v>
                </c:pt>
                <c:pt idx="41">
                  <c:v>3.1445049163731066E-2</c:v>
                </c:pt>
                <c:pt idx="42">
                  <c:v>3.1914639601277932E-2</c:v>
                </c:pt>
                <c:pt idx="43">
                  <c:v>3.2361944390941207E-2</c:v>
                </c:pt>
                <c:pt idx="44">
                  <c:v>3.2917493756039022E-2</c:v>
                </c:pt>
                <c:pt idx="45">
                  <c:v>3.3027330163465235E-2</c:v>
                </c:pt>
                <c:pt idx="46">
                  <c:v>3.3113289091016185E-2</c:v>
                </c:pt>
                <c:pt idx="47">
                  <c:v>3.3504879760970517E-2</c:v>
                </c:pt>
                <c:pt idx="48">
                  <c:v>3.395696004660885E-2</c:v>
                </c:pt>
                <c:pt idx="49">
                  <c:v>3.4590509179299185E-2</c:v>
                </c:pt>
                <c:pt idx="50">
                  <c:v>3.537369051920785E-2</c:v>
                </c:pt>
                <c:pt idx="51">
                  <c:v>3.6182341170983456E-2</c:v>
                </c:pt>
                <c:pt idx="52">
                  <c:v>3.630650406633483E-2</c:v>
                </c:pt>
                <c:pt idx="53">
                  <c:v>3.6344708034135254E-2</c:v>
                </c:pt>
                <c:pt idx="54">
                  <c:v>3.7005318310684224E-2</c:v>
                </c:pt>
                <c:pt idx="55">
                  <c:v>3.7780540490634465E-2</c:v>
                </c:pt>
                <c:pt idx="56">
                  <c:v>3.8886863724855031E-2</c:v>
                </c:pt>
                <c:pt idx="57">
                  <c:v>4.0196941454011183E-2</c:v>
                </c:pt>
                <c:pt idx="58">
                  <c:v>4.1430611247566494E-2</c:v>
                </c:pt>
                <c:pt idx="59">
                  <c:v>4.1586610782751554E-2</c:v>
                </c:pt>
                <c:pt idx="60">
                  <c:v>4.1901793517105039E-2</c:v>
                </c:pt>
                <c:pt idx="61">
                  <c:v>4.4351622952307129E-2</c:v>
                </c:pt>
                <c:pt idx="62">
                  <c:v>4.9106425111468045E-2</c:v>
                </c:pt>
                <c:pt idx="63">
                  <c:v>5.296980135528577E-2</c:v>
                </c:pt>
                <c:pt idx="64">
                  <c:v>5.6576892648442324E-2</c:v>
                </c:pt>
                <c:pt idx="65">
                  <c:v>5.9712801672060334E-2</c:v>
                </c:pt>
                <c:pt idx="66">
                  <c:v>6.146381686291303E-2</c:v>
                </c:pt>
                <c:pt idx="67">
                  <c:v>6.2863037183603504E-2</c:v>
                </c:pt>
                <c:pt idx="68">
                  <c:v>6.614698658244815E-2</c:v>
                </c:pt>
                <c:pt idx="69">
                  <c:v>6.9649016964153543E-2</c:v>
                </c:pt>
                <c:pt idx="70">
                  <c:v>7.3268842913243579E-2</c:v>
                </c:pt>
                <c:pt idx="71">
                  <c:v>7.6778832454907395E-2</c:v>
                </c:pt>
                <c:pt idx="72">
                  <c:v>7.9671191183797715E-2</c:v>
                </c:pt>
                <c:pt idx="73">
                  <c:v>8.1119758296230401E-2</c:v>
                </c:pt>
                <c:pt idx="74">
                  <c:v>8.2011184211573593E-2</c:v>
                </c:pt>
                <c:pt idx="75">
                  <c:v>8.397868855329535E-2</c:v>
                </c:pt>
                <c:pt idx="76">
                  <c:v>8.7163944368655571E-2</c:v>
                </c:pt>
                <c:pt idx="77">
                  <c:v>9.0040384777629046E-2</c:v>
                </c:pt>
                <c:pt idx="78">
                  <c:v>9.2764009315400839E-2</c:v>
                </c:pt>
                <c:pt idx="79">
                  <c:v>9.5777347275659161E-2</c:v>
                </c:pt>
                <c:pt idx="80">
                  <c:v>9.7038078213073101E-2</c:v>
                </c:pt>
                <c:pt idx="81">
                  <c:v>9.7512444146595004E-2</c:v>
                </c:pt>
                <c:pt idx="82">
                  <c:v>9.9261867505456028E-2</c:v>
                </c:pt>
                <c:pt idx="83">
                  <c:v>0.10126280031900314</c:v>
                </c:pt>
                <c:pt idx="84">
                  <c:v>0.10299471352595564</c:v>
                </c:pt>
                <c:pt idx="85">
                  <c:v>0.1045467497178478</c:v>
                </c:pt>
                <c:pt idx="86">
                  <c:v>0.10647605009176914</c:v>
                </c:pt>
                <c:pt idx="87">
                  <c:v>0.10706025243271726</c:v>
                </c:pt>
                <c:pt idx="88">
                  <c:v>0.10765878126159055</c:v>
                </c:pt>
                <c:pt idx="89">
                  <c:v>0.10915351150178208</c:v>
                </c:pt>
                <c:pt idx="90">
                  <c:v>0.11112260767549552</c:v>
                </c:pt>
                <c:pt idx="91">
                  <c:v>0.11306145904136695</c:v>
                </c:pt>
                <c:pt idx="92">
                  <c:v>0.1151626772703902</c:v>
                </c:pt>
                <c:pt idx="93">
                  <c:v>0.11576757342723022</c:v>
                </c:pt>
                <c:pt idx="94">
                  <c:v>0.11606047051370012</c:v>
                </c:pt>
                <c:pt idx="95">
                  <c:v>0.11628969432050267</c:v>
                </c:pt>
                <c:pt idx="96">
                  <c:v>0.11646957133556297</c:v>
                </c:pt>
                <c:pt idx="97">
                  <c:v>0.11771438395306008</c:v>
                </c:pt>
                <c:pt idx="98">
                  <c:v>0.11948131746382962</c:v>
                </c:pt>
                <c:pt idx="99">
                  <c:v>0.12209192193019182</c:v>
                </c:pt>
                <c:pt idx="100">
                  <c:v>0.12520395347393456</c:v>
                </c:pt>
                <c:pt idx="101">
                  <c:v>0.1265872554747082</c:v>
                </c:pt>
                <c:pt idx="102">
                  <c:v>0.12725104941524054</c:v>
                </c:pt>
                <c:pt idx="103">
                  <c:v>0.13016569379201445</c:v>
                </c:pt>
                <c:pt idx="104">
                  <c:v>0.13301825672111264</c:v>
                </c:pt>
                <c:pt idx="105">
                  <c:v>0.13581828919448527</c:v>
                </c:pt>
                <c:pt idx="106">
                  <c:v>0.13969280826224478</c:v>
                </c:pt>
                <c:pt idx="107">
                  <c:v>0.14393344868809169</c:v>
                </c:pt>
                <c:pt idx="108">
                  <c:v>0.14572266784674481</c:v>
                </c:pt>
                <c:pt idx="109">
                  <c:v>0.14690699084855791</c:v>
                </c:pt>
                <c:pt idx="110">
                  <c:v>0.15059844923727372</c:v>
                </c:pt>
                <c:pt idx="111">
                  <c:v>0.15424374449823069</c:v>
                </c:pt>
                <c:pt idx="112">
                  <c:v>0.15819944699756611</c:v>
                </c:pt>
                <c:pt idx="113">
                  <c:v>0.16254196467088081</c:v>
                </c:pt>
                <c:pt idx="114">
                  <c:v>0.1672792566781332</c:v>
                </c:pt>
                <c:pt idx="115">
                  <c:v>0.1684524368560045</c:v>
                </c:pt>
                <c:pt idx="116">
                  <c:v>0.16924357735587159</c:v>
                </c:pt>
                <c:pt idx="117">
                  <c:v>0.17216458906061222</c:v>
                </c:pt>
                <c:pt idx="118">
                  <c:v>0.17495347871004305</c:v>
                </c:pt>
                <c:pt idx="119">
                  <c:v>0.17876909999411025</c:v>
                </c:pt>
                <c:pt idx="120">
                  <c:v>0.18781229753886861</c:v>
                </c:pt>
                <c:pt idx="121">
                  <c:v>0.19996752662736969</c:v>
                </c:pt>
                <c:pt idx="122">
                  <c:v>0.20659909870472634</c:v>
                </c:pt>
                <c:pt idx="123">
                  <c:v>0.21320997696619112</c:v>
                </c:pt>
                <c:pt idx="124">
                  <c:v>0.24095720041323962</c:v>
                </c:pt>
                <c:pt idx="125">
                  <c:v>0.27174482296440511</c:v>
                </c:pt>
                <c:pt idx="126">
                  <c:v>0.3060488023852011</c:v>
                </c:pt>
                <c:pt idx="127">
                  <c:v>0.34146547236818442</c:v>
                </c:pt>
                <c:pt idx="128">
                  <c:v>0.37560708492582867</c:v>
                </c:pt>
                <c:pt idx="129">
                  <c:v>0.38731978472064149</c:v>
                </c:pt>
                <c:pt idx="130">
                  <c:v>0.39755367259517971</c:v>
                </c:pt>
                <c:pt idx="131">
                  <c:v>0.42109845958418174</c:v>
                </c:pt>
                <c:pt idx="132">
                  <c:v>0.45493125673543922</c:v>
                </c:pt>
                <c:pt idx="133">
                  <c:v>0.48876405388669669</c:v>
                </c:pt>
                <c:pt idx="134">
                  <c:v>0.52259685103795417</c:v>
                </c:pt>
                <c:pt idx="135">
                  <c:v>0.55642964818921159</c:v>
                </c:pt>
                <c:pt idx="136">
                  <c:v>0.59026244534046912</c:v>
                </c:pt>
                <c:pt idx="137">
                  <c:v>0.62409524249172654</c:v>
                </c:pt>
                <c:pt idx="138">
                  <c:v>0.65792803964298407</c:v>
                </c:pt>
                <c:pt idx="139">
                  <c:v>0.6917608367942415</c:v>
                </c:pt>
                <c:pt idx="140">
                  <c:v>0.72559363394549903</c:v>
                </c:pt>
                <c:pt idx="141">
                  <c:v>0.75942643109675645</c:v>
                </c:pt>
                <c:pt idx="142">
                  <c:v>0.79325922824801398</c:v>
                </c:pt>
                <c:pt idx="143">
                  <c:v>0.8270920253992714</c:v>
                </c:pt>
                <c:pt idx="144">
                  <c:v>0.8270920253992714</c:v>
                </c:pt>
                <c:pt idx="145">
                  <c:v>0.8270920253992714</c:v>
                </c:pt>
                <c:pt idx="146">
                  <c:v>0.8270920253992714</c:v>
                </c:pt>
                <c:pt idx="147">
                  <c:v>0.8270920253992714</c:v>
                </c:pt>
                <c:pt idx="148">
                  <c:v>0.8270920253992714</c:v>
                </c:pt>
                <c:pt idx="149">
                  <c:v>0.8270920253992714</c:v>
                </c:pt>
                <c:pt idx="150">
                  <c:v>0.8270920253992714</c:v>
                </c:pt>
                <c:pt idx="151">
                  <c:v>0.8270920253992714</c:v>
                </c:pt>
                <c:pt idx="152">
                  <c:v>0.8270920253992714</c:v>
                </c:pt>
                <c:pt idx="153">
                  <c:v>0.8270920253992714</c:v>
                </c:pt>
                <c:pt idx="154">
                  <c:v>0.8270920253992714</c:v>
                </c:pt>
                <c:pt idx="155">
                  <c:v>0.8270920253992714</c:v>
                </c:pt>
                <c:pt idx="156">
                  <c:v>0.8270920253992714</c:v>
                </c:pt>
                <c:pt idx="157">
                  <c:v>0.8270920253992714</c:v>
                </c:pt>
                <c:pt idx="158">
                  <c:v>0.8270920253992714</c:v>
                </c:pt>
                <c:pt idx="159">
                  <c:v>0.8270920253992714</c:v>
                </c:pt>
                <c:pt idx="160">
                  <c:v>0.8270920253992714</c:v>
                </c:pt>
                <c:pt idx="161">
                  <c:v>0.8270920253992714</c:v>
                </c:pt>
                <c:pt idx="162">
                  <c:v>0.8270920253992714</c:v>
                </c:pt>
                <c:pt idx="163">
                  <c:v>0.8270920253992714</c:v>
                </c:pt>
                <c:pt idx="164">
                  <c:v>0.8270920253992714</c:v>
                </c:pt>
                <c:pt idx="165">
                  <c:v>0.8270920253992714</c:v>
                </c:pt>
                <c:pt idx="166">
                  <c:v>0.8270920253992714</c:v>
                </c:pt>
                <c:pt idx="167">
                  <c:v>0.8270920253992714</c:v>
                </c:pt>
                <c:pt idx="168">
                  <c:v>0.8270920253992714</c:v>
                </c:pt>
                <c:pt idx="169">
                  <c:v>0.8270920253992714</c:v>
                </c:pt>
                <c:pt idx="170">
                  <c:v>0.8270920253992714</c:v>
                </c:pt>
                <c:pt idx="171">
                  <c:v>0.8270920253992714</c:v>
                </c:pt>
                <c:pt idx="172">
                  <c:v>0.8270920253992714</c:v>
                </c:pt>
                <c:pt idx="173">
                  <c:v>0.8270920253992714</c:v>
                </c:pt>
                <c:pt idx="174">
                  <c:v>0.8270920253992714</c:v>
                </c:pt>
                <c:pt idx="175">
                  <c:v>0.8270920253992714</c:v>
                </c:pt>
                <c:pt idx="176">
                  <c:v>0.8270920253992714</c:v>
                </c:pt>
                <c:pt idx="177">
                  <c:v>0.8270920253992714</c:v>
                </c:pt>
                <c:pt idx="178">
                  <c:v>0.8270920253992714</c:v>
                </c:pt>
                <c:pt idx="179">
                  <c:v>0.8270920253992714</c:v>
                </c:pt>
                <c:pt idx="180">
                  <c:v>0.8270920253992714</c:v>
                </c:pt>
                <c:pt idx="181">
                  <c:v>0.8270920253992714</c:v>
                </c:pt>
                <c:pt idx="182">
                  <c:v>0.82709202539927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5-F267-42C6-AC42-927B0F02AEC7}"/>
            </c:ext>
          </c:extLst>
        </c:ser>
        <c:ser>
          <c:idx val="9"/>
          <c:order val="9"/>
          <c:tx>
            <c:strRef>
              <c:f>List1!$K$1</c:f>
              <c:strCache>
                <c:ptCount val="1"/>
                <c:pt idx="0">
                  <c:v>13 60-64</c:v>
                </c:pt>
              </c:strCache>
            </c:strRef>
          </c:tx>
          <c:spPr>
            <a:ln w="28575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K$5:$K$187</c:f>
              <c:numCache>
                <c:formatCode>0.00%</c:formatCode>
                <c:ptCount val="183"/>
                <c:pt idx="0">
                  <c:v>1.2077294685990346E-3</c:v>
                </c:pt>
                <c:pt idx="1">
                  <c:v>1.3358666195357615E-3</c:v>
                </c:pt>
                <c:pt idx="2">
                  <c:v>1.369741958289149E-3</c:v>
                </c:pt>
                <c:pt idx="3">
                  <c:v>1.5273359255331695E-3</c:v>
                </c:pt>
                <c:pt idx="4">
                  <c:v>1.620124896901144E-3</c:v>
                </c:pt>
                <c:pt idx="5">
                  <c:v>2.0472487333569002E-3</c:v>
                </c:pt>
                <c:pt idx="6">
                  <c:v>2.5450689289501609E-3</c:v>
                </c:pt>
                <c:pt idx="7">
                  <c:v>3.2255213856486414E-3</c:v>
                </c:pt>
                <c:pt idx="8">
                  <c:v>4.2093790503122449E-3</c:v>
                </c:pt>
                <c:pt idx="9">
                  <c:v>5.3140096618357526E-3</c:v>
                </c:pt>
                <c:pt idx="10">
                  <c:v>5.5791210086013942E-3</c:v>
                </c:pt>
                <c:pt idx="11">
                  <c:v>5.7882644043831784E-3</c:v>
                </c:pt>
                <c:pt idx="12">
                  <c:v>6.9547543301520017E-3</c:v>
                </c:pt>
                <c:pt idx="13">
                  <c:v>8.4570519618239713E-3</c:v>
                </c:pt>
                <c:pt idx="14">
                  <c:v>9.887180393543072E-3</c:v>
                </c:pt>
                <c:pt idx="15">
                  <c:v>1.1544126310828334E-2</c:v>
                </c:pt>
                <c:pt idx="16">
                  <c:v>1.3186343819959949E-2</c:v>
                </c:pt>
                <c:pt idx="17">
                  <c:v>1.3454400848356319E-2</c:v>
                </c:pt>
                <c:pt idx="18">
                  <c:v>1.3579592317662316E-2</c:v>
                </c:pt>
                <c:pt idx="19">
                  <c:v>1.4694532814893376E-2</c:v>
                </c:pt>
                <c:pt idx="20">
                  <c:v>1.5752032520325213E-2</c:v>
                </c:pt>
                <c:pt idx="21">
                  <c:v>1.6844880405325804E-2</c:v>
                </c:pt>
                <c:pt idx="22">
                  <c:v>1.7791917049605289E-2</c:v>
                </c:pt>
                <c:pt idx="23">
                  <c:v>1.852833745728763E-2</c:v>
                </c:pt>
                <c:pt idx="24">
                  <c:v>1.8640273359255343E-2</c:v>
                </c:pt>
                <c:pt idx="25">
                  <c:v>1.8697714151054565E-2</c:v>
                </c:pt>
                <c:pt idx="26">
                  <c:v>1.918669730175564E-2</c:v>
                </c:pt>
                <c:pt idx="27">
                  <c:v>1.9786143513609064E-2</c:v>
                </c:pt>
                <c:pt idx="28">
                  <c:v>2.022946859903383E-2</c:v>
                </c:pt>
                <c:pt idx="29">
                  <c:v>2.0615352892659377E-2</c:v>
                </c:pt>
                <c:pt idx="30">
                  <c:v>2.094085071285497E-2</c:v>
                </c:pt>
                <c:pt idx="31">
                  <c:v>2.0967361847531535E-2</c:v>
                </c:pt>
                <c:pt idx="32">
                  <c:v>2.098798161894664E-2</c:v>
                </c:pt>
                <c:pt idx="33">
                  <c:v>2.1172086720867223E-2</c:v>
                </c:pt>
                <c:pt idx="34">
                  <c:v>2.13856486390951E-2</c:v>
                </c:pt>
                <c:pt idx="35">
                  <c:v>2.1634558736891733E-2</c:v>
                </c:pt>
                <c:pt idx="36">
                  <c:v>2.1834865087781329E-2</c:v>
                </c:pt>
                <c:pt idx="37">
                  <c:v>2.2158890067161558E-2</c:v>
                </c:pt>
                <c:pt idx="38">
                  <c:v>2.2179509838576663E-2</c:v>
                </c:pt>
                <c:pt idx="39">
                  <c:v>2.219718392836104E-2</c:v>
                </c:pt>
                <c:pt idx="40">
                  <c:v>2.2359196418051154E-2</c:v>
                </c:pt>
                <c:pt idx="41">
                  <c:v>2.2588959585248043E-2</c:v>
                </c:pt>
                <c:pt idx="42">
                  <c:v>2.2871745021798059E-2</c:v>
                </c:pt>
                <c:pt idx="43">
                  <c:v>2.326499351950043E-2</c:v>
                </c:pt>
                <c:pt idx="44">
                  <c:v>2.3637622245787693E-2</c:v>
                </c:pt>
                <c:pt idx="45">
                  <c:v>2.3717155649817384E-2</c:v>
                </c:pt>
                <c:pt idx="46">
                  <c:v>2.3765759396724418E-2</c:v>
                </c:pt>
                <c:pt idx="47">
                  <c:v>2.4051490514905165E-2</c:v>
                </c:pt>
                <c:pt idx="48">
                  <c:v>2.4409390833038783E-2</c:v>
                </c:pt>
                <c:pt idx="49">
                  <c:v>2.4886591257216938E-2</c:v>
                </c:pt>
                <c:pt idx="50">
                  <c:v>2.5569989395546146E-2</c:v>
                </c:pt>
                <c:pt idx="51">
                  <c:v>2.612819606456936E-2</c:v>
                </c:pt>
                <c:pt idx="52">
                  <c:v>2.6225403558383428E-2</c:v>
                </c:pt>
                <c:pt idx="53">
                  <c:v>2.6266643101213637E-2</c:v>
                </c:pt>
                <c:pt idx="54">
                  <c:v>2.6748262047837888E-2</c:v>
                </c:pt>
                <c:pt idx="55">
                  <c:v>2.7306468716861099E-2</c:v>
                </c:pt>
                <c:pt idx="56">
                  <c:v>2.8222575704017931E-2</c:v>
                </c:pt>
                <c:pt idx="57">
                  <c:v>2.9200542005420074E-2</c:v>
                </c:pt>
                <c:pt idx="58">
                  <c:v>3.0153470012961019E-2</c:v>
                </c:pt>
                <c:pt idx="59">
                  <c:v>3.0269824437374828E-2</c:v>
                </c:pt>
                <c:pt idx="60">
                  <c:v>3.0434782608695674E-2</c:v>
                </c:pt>
                <c:pt idx="61">
                  <c:v>3.2401025097207513E-2</c:v>
                </c:pt>
                <c:pt idx="62">
                  <c:v>3.61125839519265E-2</c:v>
                </c:pt>
                <c:pt idx="63">
                  <c:v>3.9282137386591282E-2</c:v>
                </c:pt>
                <c:pt idx="64">
                  <c:v>4.2766878755744107E-2</c:v>
                </c:pt>
                <c:pt idx="65">
                  <c:v>4.5227995758218481E-2</c:v>
                </c:pt>
                <c:pt idx="66">
                  <c:v>4.6416578296217779E-2</c:v>
                </c:pt>
                <c:pt idx="67">
                  <c:v>4.7372451985389454E-2</c:v>
                </c:pt>
                <c:pt idx="68">
                  <c:v>4.9865971485801852E-2</c:v>
                </c:pt>
                <c:pt idx="69">
                  <c:v>5.2661423353364004E-2</c:v>
                </c:pt>
                <c:pt idx="70">
                  <c:v>5.5088665017084988E-2</c:v>
                </c:pt>
                <c:pt idx="71">
                  <c:v>5.7596912925651035E-2</c:v>
                </c:pt>
                <c:pt idx="72">
                  <c:v>5.953811712030168E-2</c:v>
                </c:pt>
                <c:pt idx="73">
                  <c:v>6.0349652409567613E-2</c:v>
                </c:pt>
                <c:pt idx="74">
                  <c:v>6.0785613290915558E-2</c:v>
                </c:pt>
                <c:pt idx="75">
                  <c:v>6.2044892188052356E-2</c:v>
                </c:pt>
                <c:pt idx="76">
                  <c:v>6.4070048309178784E-2</c:v>
                </c:pt>
                <c:pt idx="77">
                  <c:v>6.5862495581477595E-2</c:v>
                </c:pt>
                <c:pt idx="78">
                  <c:v>6.7537115588547234E-2</c:v>
                </c:pt>
                <c:pt idx="79">
                  <c:v>6.9603511252503872E-2</c:v>
                </c:pt>
                <c:pt idx="80">
                  <c:v>7.0160245080711725E-2</c:v>
                </c:pt>
                <c:pt idx="81">
                  <c:v>7.0391481088723978E-2</c:v>
                </c:pt>
                <c:pt idx="82">
                  <c:v>7.1656651349122233E-2</c:v>
                </c:pt>
                <c:pt idx="83">
                  <c:v>7.2938022858489507E-2</c:v>
                </c:pt>
                <c:pt idx="84">
                  <c:v>7.4406445151408082E-2</c:v>
                </c:pt>
                <c:pt idx="85">
                  <c:v>7.5855720513726924E-2</c:v>
                </c:pt>
                <c:pt idx="86">
                  <c:v>7.7595145516672612E-2</c:v>
                </c:pt>
                <c:pt idx="87">
                  <c:v>7.8022269353128365E-2</c:v>
                </c:pt>
                <c:pt idx="88">
                  <c:v>7.8383115352892718E-2</c:v>
                </c:pt>
                <c:pt idx="89">
                  <c:v>7.989866855190296E-2</c:v>
                </c:pt>
                <c:pt idx="90">
                  <c:v>8.1748556616001E-2</c:v>
                </c:pt>
                <c:pt idx="91">
                  <c:v>8.3571933545422472E-2</c:v>
                </c:pt>
                <c:pt idx="92">
                  <c:v>8.5519029103334573E-2</c:v>
                </c:pt>
                <c:pt idx="93">
                  <c:v>8.5991811005066629E-2</c:v>
                </c:pt>
                <c:pt idx="94">
                  <c:v>8.6239248262047902E-2</c:v>
                </c:pt>
                <c:pt idx="95">
                  <c:v>8.6386532343584371E-2</c:v>
                </c:pt>
                <c:pt idx="96">
                  <c:v>8.6536762106751555E-2</c:v>
                </c:pt>
                <c:pt idx="97">
                  <c:v>8.7809296571226644E-2</c:v>
                </c:pt>
                <c:pt idx="98">
                  <c:v>8.9653293272063214E-2</c:v>
                </c:pt>
                <c:pt idx="99">
                  <c:v>9.2825792388358724E-2</c:v>
                </c:pt>
                <c:pt idx="100">
                  <c:v>9.6048368092376643E-2</c:v>
                </c:pt>
                <c:pt idx="101">
                  <c:v>9.7307646989513441E-2</c:v>
                </c:pt>
                <c:pt idx="102">
                  <c:v>9.8032284670672862E-2</c:v>
                </c:pt>
                <c:pt idx="103">
                  <c:v>0.1016996583009309</c:v>
                </c:pt>
                <c:pt idx="104">
                  <c:v>0.1050813008130082</c:v>
                </c:pt>
                <c:pt idx="105">
                  <c:v>0.10874720160245088</c:v>
                </c:pt>
                <c:pt idx="106">
                  <c:v>0.11370772946859911</c:v>
                </c:pt>
                <c:pt idx="107">
                  <c:v>0.1188494167550372</c:v>
                </c:pt>
                <c:pt idx="108">
                  <c:v>0.12029280075409458</c:v>
                </c:pt>
                <c:pt idx="109">
                  <c:v>0.12129433250854256</c:v>
                </c:pt>
                <c:pt idx="110">
                  <c:v>0.1256244845057147</c:v>
                </c:pt>
                <c:pt idx="111">
                  <c:v>0.13001355013550145</c:v>
                </c:pt>
                <c:pt idx="112">
                  <c:v>0.1348857075527278</c:v>
                </c:pt>
                <c:pt idx="113">
                  <c:v>0.1402556851655474</c:v>
                </c:pt>
                <c:pt idx="114">
                  <c:v>0.14591728525980921</c:v>
                </c:pt>
                <c:pt idx="115">
                  <c:v>0.14852274066218935</c:v>
                </c:pt>
                <c:pt idx="116">
                  <c:v>0.15269529869211745</c:v>
                </c:pt>
                <c:pt idx="117">
                  <c:v>0.16530870743490056</c:v>
                </c:pt>
                <c:pt idx="118">
                  <c:v>0.18345410628019337</c:v>
                </c:pt>
                <c:pt idx="119">
                  <c:v>0.20786202427241679</c:v>
                </c:pt>
                <c:pt idx="120">
                  <c:v>0.23997584541062819</c:v>
                </c:pt>
                <c:pt idx="121">
                  <c:v>0.27090255685165565</c:v>
                </c:pt>
                <c:pt idx="122">
                  <c:v>0.28074407917992245</c:v>
                </c:pt>
                <c:pt idx="123">
                  <c:v>0.28913779898668573</c:v>
                </c:pt>
                <c:pt idx="124">
                  <c:v>0.32039148108872417</c:v>
                </c:pt>
                <c:pt idx="125">
                  <c:v>0.34566248379875125</c:v>
                </c:pt>
                <c:pt idx="126">
                  <c:v>0.37401761517615201</c:v>
                </c:pt>
                <c:pt idx="127">
                  <c:v>0.39919141039236505</c:v>
                </c:pt>
                <c:pt idx="128">
                  <c:v>0.42319135147873249</c:v>
                </c:pt>
                <c:pt idx="129">
                  <c:v>0.42996200070696389</c:v>
                </c:pt>
                <c:pt idx="130">
                  <c:v>0.43571491693177833</c:v>
                </c:pt>
                <c:pt idx="131">
                  <c:v>0.45166578296217774</c:v>
                </c:pt>
                <c:pt idx="132">
                  <c:v>0.47932131495228031</c:v>
                </c:pt>
                <c:pt idx="133">
                  <c:v>0.50697684694238276</c:v>
                </c:pt>
                <c:pt idx="134">
                  <c:v>0.53463237893248539</c:v>
                </c:pt>
                <c:pt idx="135">
                  <c:v>0.5622879109225879</c:v>
                </c:pt>
                <c:pt idx="136">
                  <c:v>0.58994344291269041</c:v>
                </c:pt>
                <c:pt idx="137">
                  <c:v>0.61759897490279292</c:v>
                </c:pt>
                <c:pt idx="138">
                  <c:v>0.64525450689289543</c:v>
                </c:pt>
                <c:pt idx="139">
                  <c:v>0.67291003888299794</c:v>
                </c:pt>
                <c:pt idx="140">
                  <c:v>0.70056557087310056</c:v>
                </c:pt>
                <c:pt idx="141">
                  <c:v>0.72822110286320307</c:v>
                </c:pt>
                <c:pt idx="142">
                  <c:v>0.75587663485330558</c:v>
                </c:pt>
                <c:pt idx="143">
                  <c:v>0.7835321668434081</c:v>
                </c:pt>
                <c:pt idx="144">
                  <c:v>0.81118769883351061</c:v>
                </c:pt>
                <c:pt idx="145">
                  <c:v>0.81118769883351061</c:v>
                </c:pt>
                <c:pt idx="146">
                  <c:v>0.81118769883351061</c:v>
                </c:pt>
                <c:pt idx="147">
                  <c:v>0.81118769883351061</c:v>
                </c:pt>
                <c:pt idx="148">
                  <c:v>0.81118769883351061</c:v>
                </c:pt>
                <c:pt idx="149">
                  <c:v>0.81118769883351061</c:v>
                </c:pt>
                <c:pt idx="150">
                  <c:v>0.81118769883351061</c:v>
                </c:pt>
                <c:pt idx="151">
                  <c:v>0.81118769883351061</c:v>
                </c:pt>
                <c:pt idx="152">
                  <c:v>0.81118769883351061</c:v>
                </c:pt>
                <c:pt idx="153">
                  <c:v>0.81118769883351061</c:v>
                </c:pt>
                <c:pt idx="154">
                  <c:v>0.81118769883351061</c:v>
                </c:pt>
                <c:pt idx="155">
                  <c:v>0.81118769883351061</c:v>
                </c:pt>
                <c:pt idx="156">
                  <c:v>0.81118769883351061</c:v>
                </c:pt>
                <c:pt idx="157">
                  <c:v>0.81118769883351061</c:v>
                </c:pt>
                <c:pt idx="158">
                  <c:v>0.81118769883351061</c:v>
                </c:pt>
                <c:pt idx="159">
                  <c:v>0.81118769883351061</c:v>
                </c:pt>
                <c:pt idx="160">
                  <c:v>0.81118769883351061</c:v>
                </c:pt>
                <c:pt idx="161">
                  <c:v>0.81118769883351061</c:v>
                </c:pt>
                <c:pt idx="162">
                  <c:v>0.81118769883351061</c:v>
                </c:pt>
                <c:pt idx="163">
                  <c:v>0.81118769883351061</c:v>
                </c:pt>
                <c:pt idx="164">
                  <c:v>0.81118769883351061</c:v>
                </c:pt>
                <c:pt idx="165">
                  <c:v>0.81118769883351061</c:v>
                </c:pt>
                <c:pt idx="166">
                  <c:v>0.81118769883351061</c:v>
                </c:pt>
                <c:pt idx="167">
                  <c:v>0.81118769883351061</c:v>
                </c:pt>
                <c:pt idx="168">
                  <c:v>0.81118769883351061</c:v>
                </c:pt>
                <c:pt idx="169">
                  <c:v>0.81118769883351061</c:v>
                </c:pt>
                <c:pt idx="170">
                  <c:v>0.81118769883351061</c:v>
                </c:pt>
                <c:pt idx="171">
                  <c:v>0.81118769883351061</c:v>
                </c:pt>
                <c:pt idx="172">
                  <c:v>0.81118769883351061</c:v>
                </c:pt>
                <c:pt idx="173">
                  <c:v>0.81118769883351061</c:v>
                </c:pt>
                <c:pt idx="174">
                  <c:v>0.81118769883351061</c:v>
                </c:pt>
                <c:pt idx="175">
                  <c:v>0.81118769883351061</c:v>
                </c:pt>
                <c:pt idx="176">
                  <c:v>0.81118769883351061</c:v>
                </c:pt>
                <c:pt idx="177">
                  <c:v>0.81118769883351061</c:v>
                </c:pt>
                <c:pt idx="178">
                  <c:v>0.81118769883351061</c:v>
                </c:pt>
                <c:pt idx="179">
                  <c:v>0.81118769883351061</c:v>
                </c:pt>
                <c:pt idx="180">
                  <c:v>0.81118769883351061</c:v>
                </c:pt>
                <c:pt idx="181">
                  <c:v>0.81118769883351061</c:v>
                </c:pt>
                <c:pt idx="182">
                  <c:v>0.811187698833510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6-F267-42C6-AC42-927B0F02AEC7}"/>
            </c:ext>
          </c:extLst>
        </c:ser>
        <c:ser>
          <c:idx val="10"/>
          <c:order val="10"/>
          <c:tx>
            <c:strRef>
              <c:f>List1!$L$1</c:f>
              <c:strCache>
                <c:ptCount val="1"/>
                <c:pt idx="0">
                  <c:v>14 65-69</c:v>
                </c:pt>
              </c:strCache>
            </c:strRef>
          </c:tx>
          <c:spPr>
            <a:ln w="28575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L$5:$L$187</c:f>
              <c:numCache>
                <c:formatCode>0.00%</c:formatCode>
                <c:ptCount val="183"/>
                <c:pt idx="0">
                  <c:v>8.2212894629247774E-4</c:v>
                </c:pt>
                <c:pt idx="1">
                  <c:v>9.1184248068217565E-4</c:v>
                </c:pt>
                <c:pt idx="2">
                  <c:v>9.2949104482441128E-4</c:v>
                </c:pt>
                <c:pt idx="3">
                  <c:v>1.0030267287503933E-3</c:v>
                </c:pt>
                <c:pt idx="4">
                  <c:v>1.0647967032482181E-3</c:v>
                </c:pt>
                <c:pt idx="5">
                  <c:v>1.350115156881028E-3</c:v>
                </c:pt>
                <c:pt idx="6">
                  <c:v>1.6810257345479464E-3</c:v>
                </c:pt>
                <c:pt idx="7">
                  <c:v>2.0987084192475238E-3</c:v>
                </c:pt>
                <c:pt idx="8">
                  <c:v>2.6472846213353488E-3</c:v>
                </c:pt>
                <c:pt idx="9">
                  <c:v>3.3046936356336269E-3</c:v>
                </c:pt>
                <c:pt idx="10">
                  <c:v>3.5208885463760137E-3</c:v>
                </c:pt>
                <c:pt idx="11">
                  <c:v>3.7120813245835669E-3</c:v>
                </c:pt>
                <c:pt idx="12">
                  <c:v>4.3930217577381591E-3</c:v>
                </c:pt>
                <c:pt idx="13">
                  <c:v>5.4313456147730239E-3</c:v>
                </c:pt>
                <c:pt idx="14">
                  <c:v>6.5417344420553502E-3</c:v>
                </c:pt>
                <c:pt idx="15">
                  <c:v>7.8315503381170739E-3</c:v>
                </c:pt>
                <c:pt idx="16">
                  <c:v>9.0287112724320596E-3</c:v>
                </c:pt>
                <c:pt idx="17">
                  <c:v>9.2728497430663182E-3</c:v>
                </c:pt>
                <c:pt idx="18">
                  <c:v>9.399331119419008E-3</c:v>
                </c:pt>
                <c:pt idx="19">
                  <c:v>1.0274405758138193E-2</c:v>
                </c:pt>
                <c:pt idx="20">
                  <c:v>1.1117124695929945E-2</c:v>
                </c:pt>
                <c:pt idx="21">
                  <c:v>1.1940724355900942E-2</c:v>
                </c:pt>
                <c:pt idx="22">
                  <c:v>1.2781972580014175E-2</c:v>
                </c:pt>
                <c:pt idx="23">
                  <c:v>1.3421733030170219E-2</c:v>
                </c:pt>
                <c:pt idx="24">
                  <c:v>1.3514387991916956E-2</c:v>
                </c:pt>
                <c:pt idx="25">
                  <c:v>1.357909939377182E-2</c:v>
                </c:pt>
                <c:pt idx="26">
                  <c:v>1.3965897091222484E-2</c:v>
                </c:pt>
                <c:pt idx="27">
                  <c:v>1.4543887566880702E-2</c:v>
                </c:pt>
                <c:pt idx="28">
                  <c:v>1.4908624559153573E-2</c:v>
                </c:pt>
                <c:pt idx="29">
                  <c:v>1.5217474431642695E-2</c:v>
                </c:pt>
                <c:pt idx="30">
                  <c:v>1.5480732180097712E-2</c:v>
                </c:pt>
                <c:pt idx="31">
                  <c:v>1.5520441449417742E-2</c:v>
                </c:pt>
                <c:pt idx="32">
                  <c:v>1.5533677872524418E-2</c:v>
                </c:pt>
                <c:pt idx="33">
                  <c:v>1.5699868518197137E-2</c:v>
                </c:pt>
                <c:pt idx="34">
                  <c:v>1.5901356292154327E-2</c:v>
                </c:pt>
                <c:pt idx="35">
                  <c:v>1.6110197634504116E-2</c:v>
                </c:pt>
                <c:pt idx="36">
                  <c:v>1.6324921831567984E-2</c:v>
                </c:pt>
                <c:pt idx="37">
                  <c:v>1.6558765306452606E-2</c:v>
                </c:pt>
                <c:pt idx="38">
                  <c:v>1.6573472443237803E-2</c:v>
                </c:pt>
                <c:pt idx="39">
                  <c:v>1.658229672530892E-2</c:v>
                </c:pt>
                <c:pt idx="40">
                  <c:v>1.6705836674304569E-2</c:v>
                </c:pt>
                <c:pt idx="41">
                  <c:v>1.6920560871368437E-2</c:v>
                </c:pt>
                <c:pt idx="42">
                  <c:v>1.7135285068432305E-2</c:v>
                </c:pt>
                <c:pt idx="43">
                  <c:v>1.7483844210241458E-2</c:v>
                </c:pt>
                <c:pt idx="44">
                  <c:v>1.7857405484585448E-2</c:v>
                </c:pt>
                <c:pt idx="45">
                  <c:v>1.791917545908327E-2</c:v>
                </c:pt>
                <c:pt idx="46">
                  <c:v>1.796476758311738E-2</c:v>
                </c:pt>
                <c:pt idx="47">
                  <c:v>1.825302746410723E-2</c:v>
                </c:pt>
                <c:pt idx="48">
                  <c:v>1.8611881601666023E-2</c:v>
                </c:pt>
                <c:pt idx="49">
                  <c:v>1.9047212850507835E-2</c:v>
                </c:pt>
                <c:pt idx="50">
                  <c:v>1.9700209723770554E-2</c:v>
                </c:pt>
                <c:pt idx="51">
                  <c:v>2.0235549502751703E-2</c:v>
                </c:pt>
                <c:pt idx="52">
                  <c:v>2.0339970173926598E-2</c:v>
                </c:pt>
                <c:pt idx="53">
                  <c:v>2.037232587485403E-2</c:v>
                </c:pt>
                <c:pt idx="54">
                  <c:v>2.0807657123695842E-2</c:v>
                </c:pt>
                <c:pt idx="55">
                  <c:v>2.1363586894176265E-2</c:v>
                </c:pt>
                <c:pt idx="56">
                  <c:v>2.2131299434363514E-2</c:v>
                </c:pt>
                <c:pt idx="57">
                  <c:v>2.305049548343829E-2</c:v>
                </c:pt>
                <c:pt idx="58">
                  <c:v>2.4031461507010889E-2</c:v>
                </c:pt>
                <c:pt idx="59">
                  <c:v>2.4131470037150222E-2</c:v>
                </c:pt>
                <c:pt idx="60">
                  <c:v>2.4222654285218442E-2</c:v>
                </c:pt>
                <c:pt idx="61">
                  <c:v>2.5599242288312823E-2</c:v>
                </c:pt>
                <c:pt idx="62">
                  <c:v>2.7656770724561797E-2</c:v>
                </c:pt>
                <c:pt idx="63">
                  <c:v>2.9842251250841979E-2</c:v>
                </c:pt>
                <c:pt idx="64">
                  <c:v>3.2223336696365269E-2</c:v>
                </c:pt>
                <c:pt idx="65">
                  <c:v>3.3991134537945875E-2</c:v>
                </c:pt>
                <c:pt idx="66">
                  <c:v>3.4829441334702074E-2</c:v>
                </c:pt>
                <c:pt idx="67">
                  <c:v>3.5786875939418358E-2</c:v>
                </c:pt>
                <c:pt idx="68">
                  <c:v>3.7357598148077327E-2</c:v>
                </c:pt>
                <c:pt idx="69">
                  <c:v>3.9175400254727599E-2</c:v>
                </c:pt>
                <c:pt idx="70">
                  <c:v>4.1094681605195728E-2</c:v>
                </c:pt>
                <c:pt idx="71">
                  <c:v>4.3269867135726274E-2</c:v>
                </c:pt>
                <c:pt idx="72">
                  <c:v>4.551564692282576E-2</c:v>
                </c:pt>
                <c:pt idx="73">
                  <c:v>4.6123051672054376E-2</c:v>
                </c:pt>
                <c:pt idx="74">
                  <c:v>4.653485150203987E-2</c:v>
                </c:pt>
                <c:pt idx="75">
                  <c:v>4.8084983719199573E-2</c:v>
                </c:pt>
                <c:pt idx="76">
                  <c:v>5.0235167117195278E-2</c:v>
                </c:pt>
                <c:pt idx="77">
                  <c:v>5.2323580540693165E-2</c:v>
                </c:pt>
                <c:pt idx="78">
                  <c:v>5.4512002494330386E-2</c:v>
                </c:pt>
                <c:pt idx="79">
                  <c:v>5.6893087939853683E-2</c:v>
                </c:pt>
                <c:pt idx="80">
                  <c:v>5.7515199825867488E-2</c:v>
                </c:pt>
                <c:pt idx="81">
                  <c:v>5.7719629027181724E-2</c:v>
                </c:pt>
                <c:pt idx="82">
                  <c:v>5.94403640310497E-2</c:v>
                </c:pt>
                <c:pt idx="83">
                  <c:v>6.1480243903156435E-2</c:v>
                </c:pt>
                <c:pt idx="84">
                  <c:v>6.3833385788787861E-2</c:v>
                </c:pt>
                <c:pt idx="85">
                  <c:v>6.6090931285315499E-2</c:v>
                </c:pt>
                <c:pt idx="86">
                  <c:v>6.8683799500545623E-2</c:v>
                </c:pt>
                <c:pt idx="87">
                  <c:v>6.9298557818166837E-2</c:v>
                </c:pt>
                <c:pt idx="88">
                  <c:v>7.0036856084783689E-2</c:v>
                </c:pt>
                <c:pt idx="89">
                  <c:v>7.2782678522579858E-2</c:v>
                </c:pt>
                <c:pt idx="90">
                  <c:v>7.5800582990902157E-2</c:v>
                </c:pt>
                <c:pt idx="91">
                  <c:v>7.890967170729267E-2</c:v>
                </c:pt>
                <c:pt idx="92">
                  <c:v>8.2348200287671577E-2</c:v>
                </c:pt>
                <c:pt idx="93">
                  <c:v>8.33835827173494E-2</c:v>
                </c:pt>
                <c:pt idx="94">
                  <c:v>8.387921322701053E-2</c:v>
                </c:pt>
                <c:pt idx="95">
                  <c:v>8.4154236684893691E-2</c:v>
                </c:pt>
                <c:pt idx="96">
                  <c:v>8.4410140864956115E-2</c:v>
                </c:pt>
                <c:pt idx="97">
                  <c:v>8.6607387100664457E-2</c:v>
                </c:pt>
                <c:pt idx="98">
                  <c:v>9.0017972121151493E-2</c:v>
                </c:pt>
                <c:pt idx="99">
                  <c:v>9.5656688364595788E-2</c:v>
                </c:pt>
                <c:pt idx="100">
                  <c:v>0.1014542416853202</c:v>
                </c:pt>
                <c:pt idx="101">
                  <c:v>0.10382503213509386</c:v>
                </c:pt>
                <c:pt idx="102">
                  <c:v>0.10506778519344295</c:v>
                </c:pt>
                <c:pt idx="103">
                  <c:v>0.11207426515791051</c:v>
                </c:pt>
                <c:pt idx="104">
                  <c:v>0.11896750016913206</c:v>
                </c:pt>
                <c:pt idx="105">
                  <c:v>0.12795797288592259</c:v>
                </c:pt>
                <c:pt idx="106">
                  <c:v>0.1425400990084448</c:v>
                </c:pt>
                <c:pt idx="107">
                  <c:v>0.15510293525035956</c:v>
                </c:pt>
                <c:pt idx="108">
                  <c:v>0.16130934697371244</c:v>
                </c:pt>
                <c:pt idx="109">
                  <c:v>0.16509349326854347</c:v>
                </c:pt>
                <c:pt idx="110">
                  <c:v>0.18710125275391132</c:v>
                </c:pt>
                <c:pt idx="111">
                  <c:v>0.21002085471996138</c:v>
                </c:pt>
                <c:pt idx="112">
                  <c:v>0.24093525624244416</c:v>
                </c:pt>
                <c:pt idx="113">
                  <c:v>0.27772810033796996</c:v>
                </c:pt>
                <c:pt idx="114">
                  <c:v>0.3064231949195666</c:v>
                </c:pt>
                <c:pt idx="115">
                  <c:v>0.31807124725344216</c:v>
                </c:pt>
                <c:pt idx="116">
                  <c:v>0.32720290848337058</c:v>
                </c:pt>
                <c:pt idx="117">
                  <c:v>0.3609631409737889</c:v>
                </c:pt>
                <c:pt idx="118">
                  <c:v>0.38990237402601979</c:v>
                </c:pt>
                <c:pt idx="119">
                  <c:v>0.42292724967717826</c:v>
                </c:pt>
                <c:pt idx="120">
                  <c:v>0.45206797050336639</c:v>
                </c:pt>
                <c:pt idx="121">
                  <c:v>0.47401248930055789</c:v>
                </c:pt>
                <c:pt idx="122">
                  <c:v>0.47914822146594849</c:v>
                </c:pt>
                <c:pt idx="123">
                  <c:v>0.48580025943389282</c:v>
                </c:pt>
                <c:pt idx="124">
                  <c:v>0.50410917401778377</c:v>
                </c:pt>
                <c:pt idx="125">
                  <c:v>0.52132681905221323</c:v>
                </c:pt>
                <c:pt idx="126">
                  <c:v>0.53846210412064555</c:v>
                </c:pt>
                <c:pt idx="127">
                  <c:v>0.5551944136411634</c:v>
                </c:pt>
                <c:pt idx="128">
                  <c:v>0.56825288039273925</c:v>
                </c:pt>
                <c:pt idx="129">
                  <c:v>0.57292239632203912</c:v>
                </c:pt>
                <c:pt idx="130">
                  <c:v>0.57654476411223299</c:v>
                </c:pt>
                <c:pt idx="131">
                  <c:v>0.58761188454309332</c:v>
                </c:pt>
                <c:pt idx="132">
                  <c:v>0.60499277879583835</c:v>
                </c:pt>
                <c:pt idx="133">
                  <c:v>0.62237367304858349</c:v>
                </c:pt>
                <c:pt idx="134">
                  <c:v>0.63975456730132851</c:v>
                </c:pt>
                <c:pt idx="135">
                  <c:v>0.65713546155407365</c:v>
                </c:pt>
                <c:pt idx="136">
                  <c:v>0.67451635580681868</c:v>
                </c:pt>
                <c:pt idx="137">
                  <c:v>0.69189725005956382</c:v>
                </c:pt>
                <c:pt idx="138">
                  <c:v>0.70927814431230884</c:v>
                </c:pt>
                <c:pt idx="139">
                  <c:v>0.72665903856505398</c:v>
                </c:pt>
                <c:pt idx="140">
                  <c:v>0.74403993281779901</c:v>
                </c:pt>
                <c:pt idx="141">
                  <c:v>0.76142082707054415</c:v>
                </c:pt>
                <c:pt idx="142">
                  <c:v>0.77880172132328918</c:v>
                </c:pt>
                <c:pt idx="143">
                  <c:v>0.79618261557603431</c:v>
                </c:pt>
                <c:pt idx="144">
                  <c:v>0.81356350982877934</c:v>
                </c:pt>
                <c:pt idx="145">
                  <c:v>0.81356350982877934</c:v>
                </c:pt>
                <c:pt idx="146">
                  <c:v>0.81356350982877934</c:v>
                </c:pt>
                <c:pt idx="147">
                  <c:v>0.81356350982877934</c:v>
                </c:pt>
                <c:pt idx="148">
                  <c:v>0.81356350982877934</c:v>
                </c:pt>
                <c:pt idx="149">
                  <c:v>0.81356350982877934</c:v>
                </c:pt>
                <c:pt idx="150">
                  <c:v>0.81356350982877934</c:v>
                </c:pt>
                <c:pt idx="151">
                  <c:v>0.81356350982877934</c:v>
                </c:pt>
                <c:pt idx="152">
                  <c:v>0.81356350982877934</c:v>
                </c:pt>
                <c:pt idx="153">
                  <c:v>0.81356350982877934</c:v>
                </c:pt>
                <c:pt idx="154">
                  <c:v>0.81356350982877934</c:v>
                </c:pt>
                <c:pt idx="155">
                  <c:v>0.81356350982877934</c:v>
                </c:pt>
                <c:pt idx="156">
                  <c:v>0.81356350982877934</c:v>
                </c:pt>
                <c:pt idx="157">
                  <c:v>0.81356350982877934</c:v>
                </c:pt>
                <c:pt idx="158">
                  <c:v>0.81356350982877934</c:v>
                </c:pt>
                <c:pt idx="159">
                  <c:v>0.81356350982877934</c:v>
                </c:pt>
                <c:pt idx="160">
                  <c:v>0.81356350982877934</c:v>
                </c:pt>
                <c:pt idx="161">
                  <c:v>0.81356350982877934</c:v>
                </c:pt>
                <c:pt idx="162">
                  <c:v>0.81356350982877934</c:v>
                </c:pt>
                <c:pt idx="163">
                  <c:v>0.81356350982877934</c:v>
                </c:pt>
                <c:pt idx="164">
                  <c:v>0.81356350982877934</c:v>
                </c:pt>
                <c:pt idx="165">
                  <c:v>0.81356350982877934</c:v>
                </c:pt>
                <c:pt idx="166">
                  <c:v>0.81356350982877934</c:v>
                </c:pt>
                <c:pt idx="167">
                  <c:v>0.81356350982877934</c:v>
                </c:pt>
                <c:pt idx="168">
                  <c:v>0.81356350982877934</c:v>
                </c:pt>
                <c:pt idx="169">
                  <c:v>0.81356350982877934</c:v>
                </c:pt>
                <c:pt idx="170">
                  <c:v>0.81356350982877934</c:v>
                </c:pt>
                <c:pt idx="171">
                  <c:v>0.81356350982877934</c:v>
                </c:pt>
                <c:pt idx="172">
                  <c:v>0.81356350982877934</c:v>
                </c:pt>
                <c:pt idx="173">
                  <c:v>0.81356350982877934</c:v>
                </c:pt>
                <c:pt idx="174">
                  <c:v>0.81356350982877934</c:v>
                </c:pt>
                <c:pt idx="175">
                  <c:v>0.81356350982877934</c:v>
                </c:pt>
                <c:pt idx="176">
                  <c:v>0.81356350982877934</c:v>
                </c:pt>
                <c:pt idx="177">
                  <c:v>0.81356350982877934</c:v>
                </c:pt>
                <c:pt idx="178">
                  <c:v>0.81356350982877934</c:v>
                </c:pt>
                <c:pt idx="179">
                  <c:v>0.81356350982877934</c:v>
                </c:pt>
                <c:pt idx="180">
                  <c:v>0.81356350982877934</c:v>
                </c:pt>
                <c:pt idx="181">
                  <c:v>0.81356350982877934</c:v>
                </c:pt>
                <c:pt idx="182">
                  <c:v>0.813563509828779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7-F267-42C6-AC42-927B0F02AEC7}"/>
            </c:ext>
          </c:extLst>
        </c:ser>
        <c:ser>
          <c:idx val="11"/>
          <c:order val="11"/>
          <c:tx>
            <c:strRef>
              <c:f>List1!$M$1</c:f>
              <c:strCache>
                <c:ptCount val="1"/>
                <c:pt idx="0">
                  <c:v>15 70-74</c:v>
                </c:pt>
              </c:strCache>
            </c:strRef>
          </c:tx>
          <c:spPr>
            <a:ln w="28575" cap="rnd">
              <a:solidFill>
                <a:schemeClr val="accent6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M$5:$M$187</c:f>
              <c:numCache>
                <c:formatCode>0.00%</c:formatCode>
                <c:ptCount val="183"/>
                <c:pt idx="0">
                  <c:v>5.475754950641917E-4</c:v>
                </c:pt>
                <c:pt idx="1">
                  <c:v>6.3912062426996989E-4</c:v>
                </c:pt>
                <c:pt idx="2">
                  <c:v>6.4929230529283408E-4</c:v>
                </c:pt>
                <c:pt idx="3">
                  <c:v>6.9167430955476841E-4</c:v>
                </c:pt>
                <c:pt idx="4">
                  <c:v>7.2727519313479331E-4</c:v>
                </c:pt>
                <c:pt idx="5">
                  <c:v>8.9002208950062119E-4</c:v>
                </c:pt>
                <c:pt idx="6">
                  <c:v>1.0578548263778811E-3</c:v>
                </c:pt>
                <c:pt idx="7">
                  <c:v>1.3375760545066477E-3</c:v>
                </c:pt>
                <c:pt idx="8">
                  <c:v>1.7749583384898103E-3</c:v>
                </c:pt>
                <c:pt idx="9">
                  <c:v>2.2682848680987259E-3</c:v>
                </c:pt>
                <c:pt idx="10">
                  <c:v>2.4513751265102823E-3</c:v>
                </c:pt>
                <c:pt idx="11">
                  <c:v>2.6022550616827686E-3</c:v>
                </c:pt>
                <c:pt idx="12">
                  <c:v>3.0464184663478405E-3</c:v>
                </c:pt>
                <c:pt idx="13">
                  <c:v>3.8262473447674321E-3</c:v>
                </c:pt>
                <c:pt idx="14">
                  <c:v>4.9485228176234537E-3</c:v>
                </c:pt>
                <c:pt idx="15">
                  <c:v>6.2182876653110062E-3</c:v>
                </c:pt>
                <c:pt idx="16">
                  <c:v>7.3219150562917768E-3</c:v>
                </c:pt>
                <c:pt idx="17">
                  <c:v>7.5965504439091114E-3</c:v>
                </c:pt>
                <c:pt idx="18">
                  <c:v>7.7270870170358689E-3</c:v>
                </c:pt>
                <c:pt idx="19">
                  <c:v>8.5204781368192796E-3</c:v>
                </c:pt>
                <c:pt idx="20">
                  <c:v>9.2833542135340973E-3</c:v>
                </c:pt>
                <c:pt idx="21">
                  <c:v>1.0112346216897534E-2</c:v>
                </c:pt>
                <c:pt idx="22">
                  <c:v>1.0951509901283834E-2</c:v>
                </c:pt>
                <c:pt idx="23">
                  <c:v>1.1638098370327169E-2</c:v>
                </c:pt>
                <c:pt idx="24">
                  <c:v>1.1777111344306314E-2</c:v>
                </c:pt>
                <c:pt idx="25">
                  <c:v>1.1848313111466365E-2</c:v>
                </c:pt>
                <c:pt idx="26">
                  <c:v>1.2224665309312341E-2</c:v>
                </c:pt>
                <c:pt idx="27">
                  <c:v>1.263153255022691E-2</c:v>
                </c:pt>
                <c:pt idx="28">
                  <c:v>1.3021446989436707E-2</c:v>
                </c:pt>
                <c:pt idx="29">
                  <c:v>1.3329987980463589E-2</c:v>
                </c:pt>
                <c:pt idx="30">
                  <c:v>1.3530031040579919E-2</c:v>
                </c:pt>
                <c:pt idx="31">
                  <c:v>1.3552069682796125E-2</c:v>
                </c:pt>
                <c:pt idx="32">
                  <c:v>1.3580889445694241E-2</c:v>
                </c:pt>
                <c:pt idx="33">
                  <c:v>1.376737026444675E-2</c:v>
                </c:pt>
                <c:pt idx="34">
                  <c:v>1.3969108604733559E-2</c:v>
                </c:pt>
                <c:pt idx="35">
                  <c:v>1.418101862604323E-2</c:v>
                </c:pt>
                <c:pt idx="36">
                  <c:v>1.4404795608546244E-2</c:v>
                </c:pt>
                <c:pt idx="37">
                  <c:v>1.4677735715993101E-2</c:v>
                </c:pt>
                <c:pt idx="38">
                  <c:v>1.4699774358209306E-2</c:v>
                </c:pt>
                <c:pt idx="39">
                  <c:v>1.4731984681448377E-2</c:v>
                </c:pt>
                <c:pt idx="40">
                  <c:v>1.4920160780371365E-2</c:v>
                </c:pt>
                <c:pt idx="41">
                  <c:v>1.5176148086113448E-2</c:v>
                </c:pt>
                <c:pt idx="42">
                  <c:v>1.5393143947934552E-2</c:v>
                </c:pt>
                <c:pt idx="43">
                  <c:v>1.5810182869871986E-2</c:v>
                </c:pt>
                <c:pt idx="44">
                  <c:v>1.6237393472832283E-2</c:v>
                </c:pt>
                <c:pt idx="45">
                  <c:v>1.6295032998628514E-2</c:v>
                </c:pt>
                <c:pt idx="46">
                  <c:v>1.6327243321867586E-2</c:v>
                </c:pt>
                <c:pt idx="47">
                  <c:v>1.6671385196474493E-2</c:v>
                </c:pt>
                <c:pt idx="48">
                  <c:v>1.7117243881310043E-2</c:v>
                </c:pt>
                <c:pt idx="49">
                  <c:v>1.764108545398755E-2</c:v>
                </c:pt>
                <c:pt idx="50">
                  <c:v>1.8359884246269956E-2</c:v>
                </c:pt>
                <c:pt idx="51">
                  <c:v>1.8948146465425603E-2</c:v>
                </c:pt>
                <c:pt idx="52">
                  <c:v>1.904138687480186E-2</c:v>
                </c:pt>
                <c:pt idx="53">
                  <c:v>1.9068511357529499E-2</c:v>
                </c:pt>
                <c:pt idx="54">
                  <c:v>1.9534713404410774E-2</c:v>
                </c:pt>
                <c:pt idx="55">
                  <c:v>2.0077203058963537E-2</c:v>
                </c:pt>
                <c:pt idx="56">
                  <c:v>2.0926538424372698E-2</c:v>
                </c:pt>
                <c:pt idx="57">
                  <c:v>2.2060680858422062E-2</c:v>
                </c:pt>
                <c:pt idx="58">
                  <c:v>2.352201236537356E-2</c:v>
                </c:pt>
                <c:pt idx="59">
                  <c:v>2.3769523270263257E-2</c:v>
                </c:pt>
                <c:pt idx="60">
                  <c:v>2.3883107041685239E-2</c:v>
                </c:pt>
                <c:pt idx="61">
                  <c:v>2.6047979819384847E-2</c:v>
                </c:pt>
                <c:pt idx="62">
                  <c:v>2.9967467573528535E-2</c:v>
                </c:pt>
                <c:pt idx="63">
                  <c:v>3.5488995088773338E-2</c:v>
                </c:pt>
                <c:pt idx="64">
                  <c:v>4.1924278615905447E-2</c:v>
                </c:pt>
                <c:pt idx="65">
                  <c:v>4.8301922617241332E-2</c:v>
                </c:pt>
                <c:pt idx="66">
                  <c:v>5.2024757871609643E-2</c:v>
                </c:pt>
                <c:pt idx="67">
                  <c:v>5.6032400194618151E-2</c:v>
                </c:pt>
                <c:pt idx="68">
                  <c:v>6.4880067404339561E-2</c:v>
                </c:pt>
                <c:pt idx="69">
                  <c:v>7.527552540970682E-2</c:v>
                </c:pt>
                <c:pt idx="70">
                  <c:v>9.00142912118371E-2</c:v>
                </c:pt>
                <c:pt idx="71">
                  <c:v>0.10745194304536737</c:v>
                </c:pt>
                <c:pt idx="72">
                  <c:v>0.12440135418980015</c:v>
                </c:pt>
                <c:pt idx="73">
                  <c:v>0.13228949282303137</c:v>
                </c:pt>
                <c:pt idx="74">
                  <c:v>0.13719902419673385</c:v>
                </c:pt>
                <c:pt idx="75">
                  <c:v>0.15233618083892631</c:v>
                </c:pt>
                <c:pt idx="76">
                  <c:v>0.17163185973929979</c:v>
                </c:pt>
                <c:pt idx="77">
                  <c:v>0.19276013650395929</c:v>
                </c:pt>
                <c:pt idx="78">
                  <c:v>0.21440208316027343</c:v>
                </c:pt>
                <c:pt idx="79">
                  <c:v>0.23139896214947958</c:v>
                </c:pt>
                <c:pt idx="80">
                  <c:v>0.23924302349827839</c:v>
                </c:pt>
                <c:pt idx="81">
                  <c:v>0.24304214636031818</c:v>
                </c:pt>
                <c:pt idx="82">
                  <c:v>0.2567976496635716</c:v>
                </c:pt>
                <c:pt idx="83">
                  <c:v>0.27205856175820892</c:v>
                </c:pt>
                <c:pt idx="84">
                  <c:v>0.28744322930529109</c:v>
                </c:pt>
                <c:pt idx="85">
                  <c:v>0.30163950545286861</c:v>
                </c:pt>
                <c:pt idx="86">
                  <c:v>0.31249947022494667</c:v>
                </c:pt>
                <c:pt idx="87">
                  <c:v>0.31713945205154326</c:v>
                </c:pt>
                <c:pt idx="88">
                  <c:v>0.31988580592771659</c:v>
                </c:pt>
                <c:pt idx="89">
                  <c:v>0.32926070527045648</c:v>
                </c:pt>
                <c:pt idx="90">
                  <c:v>0.34137856792902871</c:v>
                </c:pt>
                <c:pt idx="91">
                  <c:v>0.35223005630025439</c:v>
                </c:pt>
                <c:pt idx="92">
                  <c:v>0.36524133160866823</c:v>
                </c:pt>
                <c:pt idx="93">
                  <c:v>0.36791987427802247</c:v>
                </c:pt>
                <c:pt idx="94">
                  <c:v>0.36950835179775976</c:v>
                </c:pt>
                <c:pt idx="95">
                  <c:v>0.37101715114948464</c:v>
                </c:pt>
                <c:pt idx="96">
                  <c:v>0.37246661569524281</c:v>
                </c:pt>
                <c:pt idx="97">
                  <c:v>0.38138548467212424</c:v>
                </c:pt>
                <c:pt idx="98">
                  <c:v>0.39334907683518311</c:v>
                </c:pt>
                <c:pt idx="99">
                  <c:v>0.41561997243474436</c:v>
                </c:pt>
                <c:pt idx="100">
                  <c:v>0.43698897898361166</c:v>
                </c:pt>
                <c:pt idx="101">
                  <c:v>0.44606550901634751</c:v>
                </c:pt>
                <c:pt idx="102">
                  <c:v>0.45320602909439822</c:v>
                </c:pt>
                <c:pt idx="103">
                  <c:v>0.47793508094115167</c:v>
                </c:pt>
                <c:pt idx="104">
                  <c:v>0.50001440988144896</c:v>
                </c:pt>
                <c:pt idx="105">
                  <c:v>0.52469090804291763</c:v>
                </c:pt>
                <c:pt idx="106">
                  <c:v>0.55130002559873048</c:v>
                </c:pt>
                <c:pt idx="107">
                  <c:v>0.57200109176042968</c:v>
                </c:pt>
                <c:pt idx="108">
                  <c:v>0.5786567617097238</c:v>
                </c:pt>
                <c:pt idx="109">
                  <c:v>0.58505813963344644</c:v>
                </c:pt>
                <c:pt idx="110">
                  <c:v>0.60093782899030801</c:v>
                </c:pt>
                <c:pt idx="111">
                  <c:v>0.61462043524623089</c:v>
                </c:pt>
                <c:pt idx="112">
                  <c:v>0.62655859820673254</c:v>
                </c:pt>
                <c:pt idx="113">
                  <c:v>0.63976822129509225</c:v>
                </c:pt>
                <c:pt idx="114">
                  <c:v>0.65037728460193966</c:v>
                </c:pt>
                <c:pt idx="115">
                  <c:v>0.65382717974886106</c:v>
                </c:pt>
                <c:pt idx="116">
                  <c:v>0.65618700974616562</c:v>
                </c:pt>
                <c:pt idx="117">
                  <c:v>0.66498551383094318</c:v>
                </c:pt>
                <c:pt idx="118">
                  <c:v>0.67348564860571669</c:v>
                </c:pt>
                <c:pt idx="119">
                  <c:v>0.68256387391862305</c:v>
                </c:pt>
                <c:pt idx="120">
                  <c:v>0.69173364436073514</c:v>
                </c:pt>
                <c:pt idx="121">
                  <c:v>0.6990301302144698</c:v>
                </c:pt>
                <c:pt idx="122">
                  <c:v>0.70098987409154156</c:v>
                </c:pt>
                <c:pt idx="123">
                  <c:v>0.70263938169741613</c:v>
                </c:pt>
                <c:pt idx="124">
                  <c:v>0.70911704722881008</c:v>
                </c:pt>
                <c:pt idx="125">
                  <c:v>0.71629316819044087</c:v>
                </c:pt>
                <c:pt idx="126">
                  <c:v>0.72382699326804234</c:v>
                </c:pt>
                <c:pt idx="127">
                  <c:v>0.73158459532814679</c:v>
                </c:pt>
                <c:pt idx="128">
                  <c:v>0.73752824760584046</c:v>
                </c:pt>
                <c:pt idx="129">
                  <c:v>0.73958631773279992</c:v>
                </c:pt>
                <c:pt idx="130">
                  <c:v>0.74126973094208404</c:v>
                </c:pt>
                <c:pt idx="131">
                  <c:v>0.74669801804795255</c:v>
                </c:pt>
                <c:pt idx="132">
                  <c:v>0.75399111334134616</c:v>
                </c:pt>
                <c:pt idx="133">
                  <c:v>0.76128420863473989</c:v>
                </c:pt>
                <c:pt idx="134">
                  <c:v>0.7685773039281335</c:v>
                </c:pt>
                <c:pt idx="135">
                  <c:v>0.77587039922152723</c:v>
                </c:pt>
                <c:pt idx="136">
                  <c:v>0.78316349451492084</c:v>
                </c:pt>
                <c:pt idx="137">
                  <c:v>0.79045658980831457</c:v>
                </c:pt>
                <c:pt idx="138">
                  <c:v>0.79774968510170818</c:v>
                </c:pt>
                <c:pt idx="139">
                  <c:v>0.8050427803951018</c:v>
                </c:pt>
                <c:pt idx="140">
                  <c:v>0.8050427803951018</c:v>
                </c:pt>
                <c:pt idx="141">
                  <c:v>0.8050427803951018</c:v>
                </c:pt>
                <c:pt idx="142">
                  <c:v>0.8050427803951018</c:v>
                </c:pt>
                <c:pt idx="143">
                  <c:v>0.8050427803951018</c:v>
                </c:pt>
                <c:pt idx="144">
                  <c:v>0.8050427803951018</c:v>
                </c:pt>
                <c:pt idx="145">
                  <c:v>0.8050427803951018</c:v>
                </c:pt>
                <c:pt idx="146">
                  <c:v>0.8050427803951018</c:v>
                </c:pt>
                <c:pt idx="147">
                  <c:v>0.8050427803951018</c:v>
                </c:pt>
                <c:pt idx="148">
                  <c:v>0.8050427803951018</c:v>
                </c:pt>
                <c:pt idx="149">
                  <c:v>0.8050427803951018</c:v>
                </c:pt>
                <c:pt idx="150">
                  <c:v>0.8050427803951018</c:v>
                </c:pt>
                <c:pt idx="151">
                  <c:v>0.8050427803951018</c:v>
                </c:pt>
                <c:pt idx="152">
                  <c:v>0.8050427803951018</c:v>
                </c:pt>
                <c:pt idx="153">
                  <c:v>0.8050427803951018</c:v>
                </c:pt>
                <c:pt idx="154">
                  <c:v>0.8050427803951018</c:v>
                </c:pt>
                <c:pt idx="155">
                  <c:v>0.8050427803951018</c:v>
                </c:pt>
                <c:pt idx="156">
                  <c:v>0.8050427803951018</c:v>
                </c:pt>
                <c:pt idx="157">
                  <c:v>0.8050427803951018</c:v>
                </c:pt>
                <c:pt idx="158">
                  <c:v>0.8050427803951018</c:v>
                </c:pt>
                <c:pt idx="159">
                  <c:v>0.8050427803951018</c:v>
                </c:pt>
                <c:pt idx="160">
                  <c:v>0.8050427803951018</c:v>
                </c:pt>
                <c:pt idx="161">
                  <c:v>0.8050427803951018</c:v>
                </c:pt>
                <c:pt idx="162">
                  <c:v>0.8050427803951018</c:v>
                </c:pt>
                <c:pt idx="163">
                  <c:v>0.8050427803951018</c:v>
                </c:pt>
                <c:pt idx="164">
                  <c:v>0.8050427803951018</c:v>
                </c:pt>
                <c:pt idx="165">
                  <c:v>0.8050427803951018</c:v>
                </c:pt>
                <c:pt idx="166">
                  <c:v>0.8050427803951018</c:v>
                </c:pt>
                <c:pt idx="167">
                  <c:v>0.8050427803951018</c:v>
                </c:pt>
                <c:pt idx="168">
                  <c:v>0.8050427803951018</c:v>
                </c:pt>
                <c:pt idx="169">
                  <c:v>0.8050427803951018</c:v>
                </c:pt>
                <c:pt idx="170">
                  <c:v>0.8050427803951018</c:v>
                </c:pt>
                <c:pt idx="171">
                  <c:v>0.8050427803951018</c:v>
                </c:pt>
                <c:pt idx="172">
                  <c:v>0.8050427803951018</c:v>
                </c:pt>
                <c:pt idx="173">
                  <c:v>0.8050427803951018</c:v>
                </c:pt>
                <c:pt idx="174">
                  <c:v>0.8050427803951018</c:v>
                </c:pt>
                <c:pt idx="175">
                  <c:v>0.8050427803951018</c:v>
                </c:pt>
                <c:pt idx="176">
                  <c:v>0.8050427803951018</c:v>
                </c:pt>
                <c:pt idx="177">
                  <c:v>0.8050427803951018</c:v>
                </c:pt>
                <c:pt idx="178">
                  <c:v>0.8050427803951018</c:v>
                </c:pt>
                <c:pt idx="179">
                  <c:v>0.8050427803951018</c:v>
                </c:pt>
                <c:pt idx="180">
                  <c:v>0.8050427803951018</c:v>
                </c:pt>
                <c:pt idx="181">
                  <c:v>0.8050427803951018</c:v>
                </c:pt>
                <c:pt idx="182">
                  <c:v>0.80504278039510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8-F267-42C6-AC42-927B0F02AEC7}"/>
            </c:ext>
          </c:extLst>
        </c:ser>
        <c:ser>
          <c:idx val="12"/>
          <c:order val="12"/>
          <c:tx>
            <c:strRef>
              <c:f>List1!$N$1</c:f>
              <c:strCache>
                <c:ptCount val="1"/>
                <c:pt idx="0">
                  <c:v>16 75-79</c:v>
                </c:pt>
              </c:strCache>
            </c:strRef>
          </c:tx>
          <c:spPr>
            <a:ln w="28575" cap="rnd">
              <a:solidFill>
                <a:schemeClr val="accent1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N$5:$N$187</c:f>
              <c:numCache>
                <c:formatCode>0.00%</c:formatCode>
                <c:ptCount val="183"/>
                <c:pt idx="0">
                  <c:v>4.2459526693496908E-4</c:v>
                </c:pt>
                <c:pt idx="1">
                  <c:v>5.7307336641529568E-4</c:v>
                </c:pt>
                <c:pt idx="2">
                  <c:v>5.7828312429179839E-4</c:v>
                </c:pt>
                <c:pt idx="3">
                  <c:v>6.1735630836556854E-4</c:v>
                </c:pt>
                <c:pt idx="4">
                  <c:v>6.3819533987157927E-4</c:v>
                </c:pt>
                <c:pt idx="5">
                  <c:v>7.2936610271037629E-4</c:v>
                </c:pt>
                <c:pt idx="6">
                  <c:v>8.5961004962294347E-4</c:v>
                </c:pt>
                <c:pt idx="7">
                  <c:v>1.0471613331770402E-3</c:v>
                </c:pt>
                <c:pt idx="8">
                  <c:v>1.5551127261360523E-3</c:v>
                </c:pt>
                <c:pt idx="9">
                  <c:v>2.1151616978600913E-3</c:v>
                </c:pt>
                <c:pt idx="10">
                  <c:v>2.3001081024759365E-3</c:v>
                </c:pt>
                <c:pt idx="11">
                  <c:v>2.4616105966475199E-3</c:v>
                </c:pt>
                <c:pt idx="12">
                  <c:v>2.9617473527917782E-3</c:v>
                </c:pt>
                <c:pt idx="13">
                  <c:v>4.1026843277458666E-3</c:v>
                </c:pt>
                <c:pt idx="14">
                  <c:v>5.5041091965250897E-3</c:v>
                </c:pt>
                <c:pt idx="15">
                  <c:v>7.2467732062152391E-3</c:v>
                </c:pt>
                <c:pt idx="16">
                  <c:v>8.7602078693392697E-3</c:v>
                </c:pt>
                <c:pt idx="17">
                  <c:v>9.260344625483528E-3</c:v>
                </c:pt>
                <c:pt idx="18">
                  <c:v>9.5989788874562033E-3</c:v>
                </c:pt>
                <c:pt idx="19">
                  <c:v>1.0758150014978051E-2</c:v>
                </c:pt>
                <c:pt idx="20">
                  <c:v>1.1784472316649081E-2</c:v>
                </c:pt>
                <c:pt idx="21">
                  <c:v>1.308170202789825E-2</c:v>
                </c:pt>
                <c:pt idx="22">
                  <c:v>1.4543039112257253E-2</c:v>
                </c:pt>
                <c:pt idx="23">
                  <c:v>1.5556337019237027E-2</c:v>
                </c:pt>
                <c:pt idx="24">
                  <c:v>1.5811615155185657E-2</c:v>
                </c:pt>
                <c:pt idx="25">
                  <c:v>1.5978327407233744E-2</c:v>
                </c:pt>
                <c:pt idx="26">
                  <c:v>1.6580054441969805E-2</c:v>
                </c:pt>
                <c:pt idx="27">
                  <c:v>1.7343283970877449E-2</c:v>
                </c:pt>
                <c:pt idx="28">
                  <c:v>1.7960640279243018E-2</c:v>
                </c:pt>
                <c:pt idx="29">
                  <c:v>1.8387840425116236E-2</c:v>
                </c:pt>
                <c:pt idx="30">
                  <c:v>1.8773362507977436E-2</c:v>
                </c:pt>
                <c:pt idx="31">
                  <c:v>1.8807225934174703E-2</c:v>
                </c:pt>
                <c:pt idx="32">
                  <c:v>1.8838484481433718E-2</c:v>
                </c:pt>
                <c:pt idx="33">
                  <c:v>1.9140650438270877E-2</c:v>
                </c:pt>
                <c:pt idx="34">
                  <c:v>1.9406348089972512E-2</c:v>
                </c:pt>
                <c:pt idx="35">
                  <c:v>1.9685070136365408E-2</c:v>
                </c:pt>
                <c:pt idx="36">
                  <c:v>2.0088826371794363E-2</c:v>
                </c:pt>
                <c:pt idx="37">
                  <c:v>2.0552494822803104E-2</c:v>
                </c:pt>
                <c:pt idx="38">
                  <c:v>2.0591568006876875E-2</c:v>
                </c:pt>
                <c:pt idx="39">
                  <c:v>2.0648875343518405E-2</c:v>
                </c:pt>
                <c:pt idx="40">
                  <c:v>2.1060446215762117E-2</c:v>
                </c:pt>
                <c:pt idx="41">
                  <c:v>2.1573607366597632E-2</c:v>
                </c:pt>
                <c:pt idx="42">
                  <c:v>2.2042485575482874E-2</c:v>
                </c:pt>
                <c:pt idx="43">
                  <c:v>2.2748407767748988E-2</c:v>
                </c:pt>
                <c:pt idx="44">
                  <c:v>2.3558525117545154E-2</c:v>
                </c:pt>
                <c:pt idx="45">
                  <c:v>2.3649695880383952E-2</c:v>
                </c:pt>
                <c:pt idx="46">
                  <c:v>2.3693978822334226E-2</c:v>
                </c:pt>
                <c:pt idx="47">
                  <c:v>2.4201930215293238E-2</c:v>
                </c:pt>
                <c:pt idx="48">
                  <c:v>2.5004232928274649E-2</c:v>
                </c:pt>
                <c:pt idx="49">
                  <c:v>2.5921150314539124E-2</c:v>
                </c:pt>
                <c:pt idx="50">
                  <c:v>2.688235064275387E-2</c:v>
                </c:pt>
                <c:pt idx="51">
                  <c:v>2.796858516000468E-2</c:v>
                </c:pt>
                <c:pt idx="52">
                  <c:v>2.812487789629976E-2</c:v>
                </c:pt>
                <c:pt idx="53">
                  <c:v>2.8208234022323805E-2</c:v>
                </c:pt>
                <c:pt idx="54">
                  <c:v>2.8893317183083907E-2</c:v>
                </c:pt>
                <c:pt idx="55">
                  <c:v>2.9792000416780619E-2</c:v>
                </c:pt>
                <c:pt idx="56">
                  <c:v>3.1274176532645637E-2</c:v>
                </c:pt>
                <c:pt idx="57">
                  <c:v>3.3076752757915565E-2</c:v>
                </c:pt>
                <c:pt idx="58">
                  <c:v>3.5426353560218275E-2</c:v>
                </c:pt>
                <c:pt idx="59">
                  <c:v>3.5806665885202975E-2</c:v>
                </c:pt>
                <c:pt idx="60">
                  <c:v>3.5944724468930295E-2</c:v>
                </c:pt>
                <c:pt idx="61">
                  <c:v>3.908620846846142E-2</c:v>
                </c:pt>
                <c:pt idx="62">
                  <c:v>4.6439781711144962E-2</c:v>
                </c:pt>
                <c:pt idx="63">
                  <c:v>6.1045337917920245E-2</c:v>
                </c:pt>
                <c:pt idx="64">
                  <c:v>8.2381901301137012E-2</c:v>
                </c:pt>
                <c:pt idx="65">
                  <c:v>0.10269995701949748</c:v>
                </c:pt>
                <c:pt idx="66">
                  <c:v>0.10965498378462858</c:v>
                </c:pt>
                <c:pt idx="67">
                  <c:v>0.11547688821162033</c:v>
                </c:pt>
                <c:pt idx="68">
                  <c:v>0.1376912957970278</c:v>
                </c:pt>
                <c:pt idx="69">
                  <c:v>0.16634756899673084</c:v>
                </c:pt>
                <c:pt idx="70">
                  <c:v>0.20169577618880155</c:v>
                </c:pt>
                <c:pt idx="71">
                  <c:v>0.23819794475051764</c:v>
                </c:pt>
                <c:pt idx="72">
                  <c:v>0.26868805272274965</c:v>
                </c:pt>
                <c:pt idx="73">
                  <c:v>0.28366871149663309</c:v>
                </c:pt>
                <c:pt idx="74">
                  <c:v>0.29578921319631662</c:v>
                </c:pt>
                <c:pt idx="75">
                  <c:v>0.317412313262741</c:v>
                </c:pt>
                <c:pt idx="76">
                  <c:v>0.34548769845921401</c:v>
                </c:pt>
                <c:pt idx="77">
                  <c:v>0.37176832206723182</c:v>
                </c:pt>
                <c:pt idx="78">
                  <c:v>0.39834850675314853</c:v>
                </c:pt>
                <c:pt idx="79">
                  <c:v>0.42078953880618386</c:v>
                </c:pt>
                <c:pt idx="80">
                  <c:v>0.43270425506974552</c:v>
                </c:pt>
                <c:pt idx="81">
                  <c:v>0.43930762317821265</c:v>
                </c:pt>
                <c:pt idx="82">
                  <c:v>0.45586423370973822</c:v>
                </c:pt>
                <c:pt idx="83">
                  <c:v>0.47281939071881618</c:v>
                </c:pt>
                <c:pt idx="84">
                  <c:v>0.48937600125034175</c:v>
                </c:pt>
                <c:pt idx="85">
                  <c:v>0.50601596790789127</c:v>
                </c:pt>
                <c:pt idx="86">
                  <c:v>0.52009533856913981</c:v>
                </c:pt>
                <c:pt idx="87">
                  <c:v>0.52647468708891743</c:v>
                </c:pt>
                <c:pt idx="88">
                  <c:v>0.52912384896911901</c:v>
                </c:pt>
                <c:pt idx="89">
                  <c:v>0.53963714036390142</c:v>
                </c:pt>
                <c:pt idx="90">
                  <c:v>0.55304184738014284</c:v>
                </c:pt>
                <c:pt idx="91">
                  <c:v>0.56562601753083508</c:v>
                </c:pt>
                <c:pt idx="92">
                  <c:v>0.57850714388048796</c:v>
                </c:pt>
                <c:pt idx="93">
                  <c:v>0.58235194519334699</c:v>
                </c:pt>
                <c:pt idx="94">
                  <c:v>0.58401125307701307</c:v>
                </c:pt>
                <c:pt idx="95">
                  <c:v>0.58522773154117647</c:v>
                </c:pt>
                <c:pt idx="96">
                  <c:v>0.58635564412143926</c:v>
                </c:pt>
                <c:pt idx="97">
                  <c:v>0.59483452506544743</c:v>
                </c:pt>
                <c:pt idx="98">
                  <c:v>0.60729105614816536</c:v>
                </c:pt>
                <c:pt idx="99">
                  <c:v>0.62573620390992313</c:v>
                </c:pt>
                <c:pt idx="100">
                  <c:v>0.64232928274658418</c:v>
                </c:pt>
                <c:pt idx="101">
                  <c:v>0.6471378892665961</c:v>
                </c:pt>
                <c:pt idx="102">
                  <c:v>0.6501803878664737</c:v>
                </c:pt>
                <c:pt idx="103">
                  <c:v>0.6636085387931594</c:v>
                </c:pt>
                <c:pt idx="104">
                  <c:v>0.67630992849607297</c:v>
                </c:pt>
                <c:pt idx="105">
                  <c:v>0.68847992289558324</c:v>
                </c:pt>
                <c:pt idx="106">
                  <c:v>0.70013936102319618</c:v>
                </c:pt>
                <c:pt idx="107">
                  <c:v>0.70953776423240711</c:v>
                </c:pt>
                <c:pt idx="108">
                  <c:v>0.71167897471964969</c:v>
                </c:pt>
                <c:pt idx="109">
                  <c:v>0.71398689745894039</c:v>
                </c:pt>
                <c:pt idx="110">
                  <c:v>0.72043918258898898</c:v>
                </c:pt>
                <c:pt idx="111">
                  <c:v>0.72723010198101024</c:v>
                </c:pt>
                <c:pt idx="112">
                  <c:v>0.734099167741179</c:v>
                </c:pt>
                <c:pt idx="113">
                  <c:v>0.74170020448299645</c:v>
                </c:pt>
                <c:pt idx="114">
                  <c:v>0.74788679196134333</c:v>
                </c:pt>
                <c:pt idx="115">
                  <c:v>0.74989775850167339</c:v>
                </c:pt>
                <c:pt idx="116">
                  <c:v>0.75121843212336681</c:v>
                </c:pt>
                <c:pt idx="117">
                  <c:v>0.7568215267195455</c:v>
                </c:pt>
                <c:pt idx="118">
                  <c:v>0.76246369449979789</c:v>
                </c:pt>
                <c:pt idx="119">
                  <c:v>0.7686398624623918</c:v>
                </c:pt>
                <c:pt idx="120">
                  <c:v>0.77480561090923272</c:v>
                </c:pt>
                <c:pt idx="121">
                  <c:v>0.77984605165474907</c:v>
                </c:pt>
                <c:pt idx="122">
                  <c:v>0.78122924237096059</c:v>
                </c:pt>
                <c:pt idx="123">
                  <c:v>0.78243009156149446</c:v>
                </c:pt>
                <c:pt idx="124">
                  <c:v>0.78691829797210155</c:v>
                </c:pt>
                <c:pt idx="125">
                  <c:v>0.79208377290665388</c:v>
                </c:pt>
                <c:pt idx="126">
                  <c:v>0.79779366753930092</c:v>
                </c:pt>
                <c:pt idx="127">
                  <c:v>0.80364683051355168</c:v>
                </c:pt>
                <c:pt idx="128">
                  <c:v>0.80804907591919639</c:v>
                </c:pt>
                <c:pt idx="129">
                  <c:v>0.80961200328214722</c:v>
                </c:pt>
                <c:pt idx="130">
                  <c:v>0.81077638416754561</c:v>
                </c:pt>
                <c:pt idx="131">
                  <c:v>0.81456387814376308</c:v>
                </c:pt>
                <c:pt idx="132">
                  <c:v>0.81456387814376308</c:v>
                </c:pt>
                <c:pt idx="133">
                  <c:v>0.81456387814376308</c:v>
                </c:pt>
                <c:pt idx="134">
                  <c:v>0.81456387814376308</c:v>
                </c:pt>
                <c:pt idx="135">
                  <c:v>0.81456387814376308</c:v>
                </c:pt>
                <c:pt idx="136">
                  <c:v>0.81456387814376308</c:v>
                </c:pt>
                <c:pt idx="137">
                  <c:v>0.81456387814376308</c:v>
                </c:pt>
                <c:pt idx="138">
                  <c:v>0.81456387814376308</c:v>
                </c:pt>
                <c:pt idx="139">
                  <c:v>0.81456387814376308</c:v>
                </c:pt>
                <c:pt idx="140">
                  <c:v>0.81456387814376308</c:v>
                </c:pt>
                <c:pt idx="141">
                  <c:v>0.81456387814376308</c:v>
                </c:pt>
                <c:pt idx="142">
                  <c:v>0.81456387814376308</c:v>
                </c:pt>
                <c:pt idx="143">
                  <c:v>0.81456387814376308</c:v>
                </c:pt>
                <c:pt idx="144">
                  <c:v>0.81456387814376308</c:v>
                </c:pt>
                <c:pt idx="145">
                  <c:v>0.81456387814376308</c:v>
                </c:pt>
                <c:pt idx="146">
                  <c:v>0.81456387814376308</c:v>
                </c:pt>
                <c:pt idx="147">
                  <c:v>0.81456387814376308</c:v>
                </c:pt>
                <c:pt idx="148">
                  <c:v>0.81456387814376308</c:v>
                </c:pt>
                <c:pt idx="149">
                  <c:v>0.81456387814376308</c:v>
                </c:pt>
                <c:pt idx="150">
                  <c:v>0.81456387814376308</c:v>
                </c:pt>
                <c:pt idx="151">
                  <c:v>0.81456387814376308</c:v>
                </c:pt>
                <c:pt idx="152">
                  <c:v>0.81456387814376308</c:v>
                </c:pt>
                <c:pt idx="153">
                  <c:v>0.81456387814376308</c:v>
                </c:pt>
                <c:pt idx="154">
                  <c:v>0.81456387814376308</c:v>
                </c:pt>
                <c:pt idx="155">
                  <c:v>0.81456387814376308</c:v>
                </c:pt>
                <c:pt idx="156">
                  <c:v>0.81456387814376308</c:v>
                </c:pt>
                <c:pt idx="157">
                  <c:v>0.81456387814376308</c:v>
                </c:pt>
                <c:pt idx="158">
                  <c:v>0.81456387814376308</c:v>
                </c:pt>
                <c:pt idx="159">
                  <c:v>0.81456387814376308</c:v>
                </c:pt>
                <c:pt idx="160">
                  <c:v>0.81456387814376308</c:v>
                </c:pt>
                <c:pt idx="161">
                  <c:v>0.81456387814376308</c:v>
                </c:pt>
                <c:pt idx="162">
                  <c:v>0.81456387814376308</c:v>
                </c:pt>
                <c:pt idx="163">
                  <c:v>0.81456387814376308</c:v>
                </c:pt>
                <c:pt idx="164">
                  <c:v>0.81456387814376308</c:v>
                </c:pt>
                <c:pt idx="165">
                  <c:v>0.81456387814376308</c:v>
                </c:pt>
                <c:pt idx="166">
                  <c:v>0.81456387814376308</c:v>
                </c:pt>
                <c:pt idx="167">
                  <c:v>0.81456387814376308</c:v>
                </c:pt>
                <c:pt idx="168">
                  <c:v>0.81456387814376308</c:v>
                </c:pt>
                <c:pt idx="169">
                  <c:v>0.81456387814376308</c:v>
                </c:pt>
                <c:pt idx="170">
                  <c:v>0.81456387814376308</c:v>
                </c:pt>
                <c:pt idx="171">
                  <c:v>0.81456387814376308</c:v>
                </c:pt>
                <c:pt idx="172">
                  <c:v>0.81456387814376308</c:v>
                </c:pt>
                <c:pt idx="173">
                  <c:v>0.81456387814376308</c:v>
                </c:pt>
                <c:pt idx="174">
                  <c:v>0.81456387814376308</c:v>
                </c:pt>
                <c:pt idx="175">
                  <c:v>0.81456387814376308</c:v>
                </c:pt>
                <c:pt idx="176">
                  <c:v>0.81456387814376308</c:v>
                </c:pt>
                <c:pt idx="177">
                  <c:v>0.81456387814376308</c:v>
                </c:pt>
                <c:pt idx="178">
                  <c:v>0.81456387814376308</c:v>
                </c:pt>
                <c:pt idx="179">
                  <c:v>0.81456387814376308</c:v>
                </c:pt>
                <c:pt idx="180">
                  <c:v>0.81456387814376308</c:v>
                </c:pt>
                <c:pt idx="181">
                  <c:v>0.81456387814376308</c:v>
                </c:pt>
                <c:pt idx="182">
                  <c:v>0.814563878143763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9-F267-42C6-AC42-927B0F02AEC7}"/>
            </c:ext>
          </c:extLst>
        </c:ser>
        <c:ser>
          <c:idx val="13"/>
          <c:order val="13"/>
          <c:tx>
            <c:strRef>
              <c:f>List1!$O$1</c:f>
              <c:strCache>
                <c:ptCount val="1"/>
                <c:pt idx="0">
                  <c:v>17 80-84</c:v>
                </c:pt>
              </c:strCache>
            </c:strRef>
          </c:tx>
          <c:spPr>
            <a:ln w="28575" cap="rnd">
              <a:solidFill>
                <a:schemeClr val="accent2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O$5:$O$187</c:f>
              <c:numCache>
                <c:formatCode>0.00%</c:formatCode>
                <c:ptCount val="183"/>
                <c:pt idx="0">
                  <c:v>7.2435942190881815E-4</c:v>
                </c:pt>
                <c:pt idx="1">
                  <c:v>8.7272219507086531E-4</c:v>
                </c:pt>
                <c:pt idx="2">
                  <c:v>8.8581302799692829E-4</c:v>
                </c:pt>
                <c:pt idx="3">
                  <c:v>9.1635830482440848E-4</c:v>
                </c:pt>
                <c:pt idx="4">
                  <c:v>9.1635830482440848E-4</c:v>
                </c:pt>
                <c:pt idx="5">
                  <c:v>9.9053969140543217E-4</c:v>
                </c:pt>
                <c:pt idx="6">
                  <c:v>1.0778119109125185E-3</c:v>
                </c:pt>
                <c:pt idx="7">
                  <c:v>1.2436291279759829E-3</c:v>
                </c:pt>
                <c:pt idx="8">
                  <c:v>1.8152621657473997E-3</c:v>
                </c:pt>
                <c:pt idx="9">
                  <c:v>2.8145290791035406E-3</c:v>
                </c:pt>
                <c:pt idx="10">
                  <c:v>3.128709069329052E-3</c:v>
                </c:pt>
                <c:pt idx="11">
                  <c:v>3.3207079522446425E-3</c:v>
                </c:pt>
                <c:pt idx="12">
                  <c:v>4.1017943168330665E-3</c:v>
                </c:pt>
                <c:pt idx="13">
                  <c:v>6.187600363052435E-3</c:v>
                </c:pt>
                <c:pt idx="14">
                  <c:v>8.7315855616840066E-3</c:v>
                </c:pt>
                <c:pt idx="15">
                  <c:v>1.2344655449277389E-2</c:v>
                </c:pt>
                <c:pt idx="16">
                  <c:v>1.6132269775884944E-2</c:v>
                </c:pt>
                <c:pt idx="17">
                  <c:v>1.9343887453745729E-2</c:v>
                </c:pt>
                <c:pt idx="18">
                  <c:v>2.3074774837673676E-2</c:v>
                </c:pt>
                <c:pt idx="19">
                  <c:v>3.409289255044335E-2</c:v>
                </c:pt>
                <c:pt idx="20">
                  <c:v>4.6420093555819324E-2</c:v>
                </c:pt>
                <c:pt idx="21">
                  <c:v>6.0667283390351198E-2</c:v>
                </c:pt>
                <c:pt idx="22">
                  <c:v>7.9814808350205976E-2</c:v>
                </c:pt>
                <c:pt idx="23">
                  <c:v>0.10139286462333312</c:v>
                </c:pt>
                <c:pt idx="24">
                  <c:v>0.10718337638762832</c:v>
                </c:pt>
                <c:pt idx="25">
                  <c:v>0.11161680513858831</c:v>
                </c:pt>
                <c:pt idx="26">
                  <c:v>0.12466400195489775</c:v>
                </c:pt>
                <c:pt idx="27">
                  <c:v>0.1369562940724709</c:v>
                </c:pt>
                <c:pt idx="28">
                  <c:v>0.14811404733645189</c:v>
                </c:pt>
                <c:pt idx="29">
                  <c:v>0.15771835509320678</c:v>
                </c:pt>
                <c:pt idx="30">
                  <c:v>0.16651103120854574</c:v>
                </c:pt>
                <c:pt idx="31">
                  <c:v>0.16790302310968377</c:v>
                </c:pt>
                <c:pt idx="32">
                  <c:v>0.16912483418278298</c:v>
                </c:pt>
                <c:pt idx="33">
                  <c:v>0.17525134399218045</c:v>
                </c:pt>
                <c:pt idx="34">
                  <c:v>0.18051822243943313</c:v>
                </c:pt>
                <c:pt idx="35">
                  <c:v>0.1859291000488725</c:v>
                </c:pt>
                <c:pt idx="36">
                  <c:v>0.19263597011799208</c:v>
                </c:pt>
                <c:pt idx="37">
                  <c:v>0.19939520351881593</c:v>
                </c:pt>
                <c:pt idx="38">
                  <c:v>0.20100101235774634</c:v>
                </c:pt>
                <c:pt idx="39">
                  <c:v>0.20261991202960278</c:v>
                </c:pt>
                <c:pt idx="40">
                  <c:v>0.20789551769880618</c:v>
                </c:pt>
                <c:pt idx="41">
                  <c:v>0.21323657753263986</c:v>
                </c:pt>
                <c:pt idx="42">
                  <c:v>0.21854272847867073</c:v>
                </c:pt>
                <c:pt idx="43">
                  <c:v>0.22545905187460732</c:v>
                </c:pt>
                <c:pt idx="44">
                  <c:v>0.23285537247783292</c:v>
                </c:pt>
                <c:pt idx="45">
                  <c:v>0.23520299518257354</c:v>
                </c:pt>
                <c:pt idx="46">
                  <c:v>0.23658625986176088</c:v>
                </c:pt>
                <c:pt idx="47">
                  <c:v>0.24433166934301478</c:v>
                </c:pt>
                <c:pt idx="48">
                  <c:v>0.2558908748167284</c:v>
                </c:pt>
                <c:pt idx="49">
                  <c:v>0.26844934720379815</c:v>
                </c:pt>
                <c:pt idx="50">
                  <c:v>0.28489579696990863</c:v>
                </c:pt>
                <c:pt idx="51">
                  <c:v>0.30023388954827906</c:v>
                </c:pt>
                <c:pt idx="52">
                  <c:v>0.30249860364448794</c:v>
                </c:pt>
                <c:pt idx="53">
                  <c:v>0.30390804998952742</c:v>
                </c:pt>
                <c:pt idx="54">
                  <c:v>0.31889705368986954</c:v>
                </c:pt>
                <c:pt idx="55">
                  <c:v>0.33886493751309094</c:v>
                </c:pt>
                <c:pt idx="56">
                  <c:v>0.36012881379599254</c:v>
                </c:pt>
                <c:pt idx="57">
                  <c:v>0.39111045172100828</c:v>
                </c:pt>
                <c:pt idx="58">
                  <c:v>0.41461722404524204</c:v>
                </c:pt>
                <c:pt idx="59">
                  <c:v>0.41933865112057539</c:v>
                </c:pt>
                <c:pt idx="60">
                  <c:v>0.42279899462403137</c:v>
                </c:pt>
                <c:pt idx="61">
                  <c:v>0.44631449417021585</c:v>
                </c:pt>
                <c:pt idx="62">
                  <c:v>0.46997399287858699</c:v>
                </c:pt>
                <c:pt idx="63">
                  <c:v>0.49240295329190825</c:v>
                </c:pt>
                <c:pt idx="64">
                  <c:v>0.5151024575857015</c:v>
                </c:pt>
                <c:pt idx="65">
                  <c:v>0.53032709627871266</c:v>
                </c:pt>
                <c:pt idx="66">
                  <c:v>0.53563324722474359</c:v>
                </c:pt>
                <c:pt idx="67">
                  <c:v>0.54050303707323899</c:v>
                </c:pt>
                <c:pt idx="68">
                  <c:v>0.55379023249319292</c:v>
                </c:pt>
                <c:pt idx="69">
                  <c:v>0.56893632618864776</c:v>
                </c:pt>
                <c:pt idx="70">
                  <c:v>0.58600677232423393</c:v>
                </c:pt>
                <c:pt idx="71">
                  <c:v>0.6034873978915033</c:v>
                </c:pt>
                <c:pt idx="72">
                  <c:v>0.61508151225301977</c:v>
                </c:pt>
                <c:pt idx="73">
                  <c:v>0.61935785100886698</c:v>
                </c:pt>
                <c:pt idx="74">
                  <c:v>0.62253019618794958</c:v>
                </c:pt>
                <c:pt idx="75">
                  <c:v>0.62862179710954424</c:v>
                </c:pt>
                <c:pt idx="76">
                  <c:v>0.63765447182852775</c:v>
                </c:pt>
                <c:pt idx="77">
                  <c:v>0.64718023458772622</c:v>
                </c:pt>
                <c:pt idx="78">
                  <c:v>0.65749581093346388</c:v>
                </c:pt>
                <c:pt idx="79">
                  <c:v>0.66603539761223229</c:v>
                </c:pt>
                <c:pt idx="80">
                  <c:v>0.6687626544718287</c:v>
                </c:pt>
                <c:pt idx="81">
                  <c:v>0.67025500942539984</c:v>
                </c:pt>
                <c:pt idx="82">
                  <c:v>0.6757880681421492</c:v>
                </c:pt>
                <c:pt idx="83">
                  <c:v>0.68207166794665941</c:v>
                </c:pt>
                <c:pt idx="84">
                  <c:v>0.6884643580255535</c:v>
                </c:pt>
                <c:pt idx="85">
                  <c:v>0.6951057739300428</c:v>
                </c:pt>
                <c:pt idx="86">
                  <c:v>0.70029847099071441</c:v>
                </c:pt>
                <c:pt idx="87">
                  <c:v>0.70193482510647232</c:v>
                </c:pt>
                <c:pt idx="88">
                  <c:v>0.70270282063813461</c:v>
                </c:pt>
                <c:pt idx="89">
                  <c:v>0.70738497521468979</c:v>
                </c:pt>
                <c:pt idx="90">
                  <c:v>0.71336312225092524</c:v>
                </c:pt>
                <c:pt idx="91">
                  <c:v>0.71902708929693515</c:v>
                </c:pt>
                <c:pt idx="92">
                  <c:v>0.7246081477344134</c:v>
                </c:pt>
                <c:pt idx="93">
                  <c:v>0.72630995601480153</c:v>
                </c:pt>
                <c:pt idx="94">
                  <c:v>0.72697322488305538</c:v>
                </c:pt>
                <c:pt idx="95">
                  <c:v>0.72737031348181269</c:v>
                </c:pt>
                <c:pt idx="96">
                  <c:v>0.72775867485861923</c:v>
                </c:pt>
                <c:pt idx="97">
                  <c:v>0.73153756196327602</c:v>
                </c:pt>
                <c:pt idx="98">
                  <c:v>0.7368393492983315</c:v>
                </c:pt>
                <c:pt idx="99">
                  <c:v>0.74451494100397986</c:v>
                </c:pt>
                <c:pt idx="100">
                  <c:v>0.75075054108776118</c:v>
                </c:pt>
                <c:pt idx="101">
                  <c:v>0.75272725685959663</c:v>
                </c:pt>
                <c:pt idx="102">
                  <c:v>0.75393597709976978</c:v>
                </c:pt>
                <c:pt idx="103">
                  <c:v>0.75907194721776183</c:v>
                </c:pt>
                <c:pt idx="104">
                  <c:v>0.76381519234797202</c:v>
                </c:pt>
                <c:pt idx="105">
                  <c:v>0.76817007610137555</c:v>
                </c:pt>
                <c:pt idx="106">
                  <c:v>0.77273441318159619</c:v>
                </c:pt>
                <c:pt idx="107">
                  <c:v>0.77639984640089388</c:v>
                </c:pt>
                <c:pt idx="108">
                  <c:v>0.77720275082035906</c:v>
                </c:pt>
                <c:pt idx="109">
                  <c:v>0.77787474691056357</c:v>
                </c:pt>
                <c:pt idx="110">
                  <c:v>0.78044491377504732</c:v>
                </c:pt>
                <c:pt idx="111">
                  <c:v>0.78335980590658405</c:v>
                </c:pt>
                <c:pt idx="112">
                  <c:v>0.78639251553445533</c:v>
                </c:pt>
                <c:pt idx="113">
                  <c:v>0.78969140543182315</c:v>
                </c:pt>
                <c:pt idx="114">
                  <c:v>0.79257575228653232</c:v>
                </c:pt>
                <c:pt idx="115">
                  <c:v>0.7932913844864905</c:v>
                </c:pt>
                <c:pt idx="116">
                  <c:v>0.79379319974865625</c:v>
                </c:pt>
                <c:pt idx="117">
                  <c:v>0.79612773162047079</c:v>
                </c:pt>
                <c:pt idx="118">
                  <c:v>0.79864553515325021</c:v>
                </c:pt>
                <c:pt idx="119">
                  <c:v>0.80144697339942772</c:v>
                </c:pt>
                <c:pt idx="120">
                  <c:v>0.80442295608461933</c:v>
                </c:pt>
                <c:pt idx="121">
                  <c:v>0.80666585212595143</c:v>
                </c:pt>
                <c:pt idx="122">
                  <c:v>0.80724621238567362</c:v>
                </c:pt>
                <c:pt idx="123">
                  <c:v>0.80789202681002603</c:v>
                </c:pt>
                <c:pt idx="124">
                  <c:v>0.81012183201843213</c:v>
                </c:pt>
                <c:pt idx="125">
                  <c:v>0.81284908887802854</c:v>
                </c:pt>
                <c:pt idx="126">
                  <c:v>0.81582943517419559</c:v>
                </c:pt>
                <c:pt idx="127">
                  <c:v>0.81919814284716908</c:v>
                </c:pt>
                <c:pt idx="128">
                  <c:v>0.82190358165188881</c:v>
                </c:pt>
                <c:pt idx="129">
                  <c:v>0.82266284996160044</c:v>
                </c:pt>
                <c:pt idx="130">
                  <c:v>0.82321266494449508</c:v>
                </c:pt>
                <c:pt idx="131">
                  <c:v>0.82541628848704907</c:v>
                </c:pt>
                <c:pt idx="132">
                  <c:v>0.82541628848704907</c:v>
                </c:pt>
                <c:pt idx="133">
                  <c:v>0.82541628848704907</c:v>
                </c:pt>
                <c:pt idx="134">
                  <c:v>0.82541628848704907</c:v>
                </c:pt>
                <c:pt idx="135">
                  <c:v>0.82541628848704907</c:v>
                </c:pt>
                <c:pt idx="136">
                  <c:v>0.82541628848704907</c:v>
                </c:pt>
                <c:pt idx="137">
                  <c:v>0.82541628848704907</c:v>
                </c:pt>
                <c:pt idx="138">
                  <c:v>0.82541628848704907</c:v>
                </c:pt>
                <c:pt idx="139">
                  <c:v>0.82541628848704907</c:v>
                </c:pt>
                <c:pt idx="140">
                  <c:v>0.82541628848704907</c:v>
                </c:pt>
                <c:pt idx="141">
                  <c:v>0.82541628848704907</c:v>
                </c:pt>
                <c:pt idx="142">
                  <c:v>0.82541628848704907</c:v>
                </c:pt>
                <c:pt idx="143">
                  <c:v>0.82541628848704907</c:v>
                </c:pt>
                <c:pt idx="144">
                  <c:v>0.82541628848704907</c:v>
                </c:pt>
                <c:pt idx="145">
                  <c:v>0.82541628848704907</c:v>
                </c:pt>
                <c:pt idx="146">
                  <c:v>0.82541628848704907</c:v>
                </c:pt>
                <c:pt idx="147">
                  <c:v>0.82541628848704907</c:v>
                </c:pt>
                <c:pt idx="148">
                  <c:v>0.82541628848704907</c:v>
                </c:pt>
                <c:pt idx="149">
                  <c:v>0.82541628848704907</c:v>
                </c:pt>
                <c:pt idx="150">
                  <c:v>0.82541628848704907</c:v>
                </c:pt>
                <c:pt idx="151">
                  <c:v>0.82541628848704907</c:v>
                </c:pt>
                <c:pt idx="152">
                  <c:v>0.82541628848704907</c:v>
                </c:pt>
                <c:pt idx="153">
                  <c:v>0.82541628848704907</c:v>
                </c:pt>
                <c:pt idx="154">
                  <c:v>0.82541628848704907</c:v>
                </c:pt>
                <c:pt idx="155">
                  <c:v>0.82541628848704907</c:v>
                </c:pt>
                <c:pt idx="156">
                  <c:v>0.82541628848704907</c:v>
                </c:pt>
                <c:pt idx="157">
                  <c:v>0.82541628848704907</c:v>
                </c:pt>
                <c:pt idx="158">
                  <c:v>0.82541628848704907</c:v>
                </c:pt>
                <c:pt idx="159">
                  <c:v>0.82541628848704907</c:v>
                </c:pt>
                <c:pt idx="160">
                  <c:v>0.82541628848704907</c:v>
                </c:pt>
                <c:pt idx="161">
                  <c:v>0.82541628848704907</c:v>
                </c:pt>
                <c:pt idx="162">
                  <c:v>0.82541628848704907</c:v>
                </c:pt>
                <c:pt idx="163">
                  <c:v>0.82541628848704907</c:v>
                </c:pt>
                <c:pt idx="164">
                  <c:v>0.82541628848704907</c:v>
                </c:pt>
                <c:pt idx="165">
                  <c:v>0.82541628848704907</c:v>
                </c:pt>
                <c:pt idx="166">
                  <c:v>0.82541628848704907</c:v>
                </c:pt>
                <c:pt idx="167">
                  <c:v>0.82541628848704907</c:v>
                </c:pt>
                <c:pt idx="168">
                  <c:v>0.82541628848704907</c:v>
                </c:pt>
                <c:pt idx="169">
                  <c:v>0.82541628848704907</c:v>
                </c:pt>
                <c:pt idx="170">
                  <c:v>0.82541628848704907</c:v>
                </c:pt>
                <c:pt idx="171">
                  <c:v>0.82541628848704907</c:v>
                </c:pt>
                <c:pt idx="172">
                  <c:v>0.82541628848704907</c:v>
                </c:pt>
                <c:pt idx="173">
                  <c:v>0.82541628848704907</c:v>
                </c:pt>
                <c:pt idx="174">
                  <c:v>0.82541628848704907</c:v>
                </c:pt>
                <c:pt idx="175">
                  <c:v>0.82541628848704907</c:v>
                </c:pt>
                <c:pt idx="176">
                  <c:v>0.82541628848704907</c:v>
                </c:pt>
                <c:pt idx="177">
                  <c:v>0.82541628848704907</c:v>
                </c:pt>
                <c:pt idx="178">
                  <c:v>0.82541628848704907</c:v>
                </c:pt>
                <c:pt idx="179">
                  <c:v>0.82541628848704907</c:v>
                </c:pt>
                <c:pt idx="180">
                  <c:v>0.82541628848704907</c:v>
                </c:pt>
                <c:pt idx="181">
                  <c:v>0.82541628848704907</c:v>
                </c:pt>
                <c:pt idx="182">
                  <c:v>0.825416288487049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A-F267-42C6-AC42-927B0F02AEC7}"/>
            </c:ext>
          </c:extLst>
        </c:ser>
        <c:ser>
          <c:idx val="14"/>
          <c:order val="14"/>
          <c:tx>
            <c:strRef>
              <c:f>List1!$P$1</c:f>
              <c:strCache>
                <c:ptCount val="1"/>
                <c:pt idx="0">
                  <c:v>18 85+</c:v>
                </c:pt>
              </c:strCache>
            </c:strRef>
          </c:tx>
          <c:spPr>
            <a:ln w="28575" cap="rnd">
              <a:solidFill>
                <a:schemeClr val="accent3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P$5:$P$187</c:f>
              <c:numCache>
                <c:formatCode>0.00%</c:formatCode>
                <c:ptCount val="183"/>
                <c:pt idx="0">
                  <c:v>2.1203598721894171E-3</c:v>
                </c:pt>
                <c:pt idx="1">
                  <c:v>2.5326520695595819E-3</c:v>
                </c:pt>
                <c:pt idx="2">
                  <c:v>2.5326520695595819E-3</c:v>
                </c:pt>
                <c:pt idx="3">
                  <c:v>2.5571932717839965E-3</c:v>
                </c:pt>
                <c:pt idx="4">
                  <c:v>2.571917993118645E-3</c:v>
                </c:pt>
                <c:pt idx="5">
                  <c:v>2.6357251189021227E-3</c:v>
                </c:pt>
                <c:pt idx="6">
                  <c:v>2.738798168244664E-3</c:v>
                </c:pt>
                <c:pt idx="7">
                  <c:v>2.8811371411462685E-3</c:v>
                </c:pt>
                <c:pt idx="8">
                  <c:v>4.2161785421544204E-3</c:v>
                </c:pt>
                <c:pt idx="9">
                  <c:v>7.3083700224306535E-3</c:v>
                </c:pt>
                <c:pt idx="10">
                  <c:v>7.8679094331473055E-3</c:v>
                </c:pt>
                <c:pt idx="11">
                  <c:v>8.1771285811749281E-3</c:v>
                </c:pt>
                <c:pt idx="12">
                  <c:v>1.0410377983596652E-2</c:v>
                </c:pt>
                <c:pt idx="13">
                  <c:v>1.6197193468113606E-2</c:v>
                </c:pt>
                <c:pt idx="14">
                  <c:v>2.1684606285492698E-2</c:v>
                </c:pt>
                <c:pt idx="15">
                  <c:v>2.884082085413198E-2</c:v>
                </c:pt>
                <c:pt idx="16">
                  <c:v>3.5810522285865717E-2</c:v>
                </c:pt>
                <c:pt idx="17">
                  <c:v>3.9599683909315321E-2</c:v>
                </c:pt>
                <c:pt idx="18">
                  <c:v>4.3482102101217703E-2</c:v>
                </c:pt>
                <c:pt idx="19">
                  <c:v>5.4078993221719905E-2</c:v>
                </c:pt>
                <c:pt idx="20">
                  <c:v>6.6869867821084769E-2</c:v>
                </c:pt>
                <c:pt idx="21">
                  <c:v>8.2159036806895042E-2</c:v>
                </c:pt>
                <c:pt idx="22">
                  <c:v>0.10109993668369818</c:v>
                </c:pt>
                <c:pt idx="23">
                  <c:v>0.12026170738052107</c:v>
                </c:pt>
                <c:pt idx="24">
                  <c:v>0.12581292732368365</c:v>
                </c:pt>
                <c:pt idx="25">
                  <c:v>0.12983277624804274</c:v>
                </c:pt>
                <c:pt idx="26">
                  <c:v>0.14523974300453021</c:v>
                </c:pt>
                <c:pt idx="27">
                  <c:v>0.16258055649630151</c:v>
                </c:pt>
                <c:pt idx="28">
                  <c:v>0.17689298563358008</c:v>
                </c:pt>
                <c:pt idx="29">
                  <c:v>0.18744079434963345</c:v>
                </c:pt>
                <c:pt idx="30">
                  <c:v>0.19668791934779287</c:v>
                </c:pt>
                <c:pt idx="31">
                  <c:v>0.19788062177589941</c:v>
                </c:pt>
                <c:pt idx="32">
                  <c:v>0.19934327742847452</c:v>
                </c:pt>
                <c:pt idx="33">
                  <c:v>0.20462945238761343</c:v>
                </c:pt>
                <c:pt idx="34">
                  <c:v>0.21095126608062262</c:v>
                </c:pt>
                <c:pt idx="35">
                  <c:v>0.21776881205856496</c:v>
                </c:pt>
                <c:pt idx="36">
                  <c:v>0.22601956424641315</c:v>
                </c:pt>
                <c:pt idx="37">
                  <c:v>0.23526668924457256</c:v>
                </c:pt>
                <c:pt idx="38">
                  <c:v>0.23706801348784456</c:v>
                </c:pt>
                <c:pt idx="39">
                  <c:v>0.23882025532666779</c:v>
                </c:pt>
                <c:pt idx="40">
                  <c:v>0.24571633315172825</c:v>
                </c:pt>
                <c:pt idx="41">
                  <c:v>0.25448245058628916</c:v>
                </c:pt>
                <c:pt idx="42">
                  <c:v>0.26366576845866507</c:v>
                </c:pt>
                <c:pt idx="43">
                  <c:v>0.27223064803498576</c:v>
                </c:pt>
                <c:pt idx="44">
                  <c:v>0.28216983493587366</c:v>
                </c:pt>
                <c:pt idx="45">
                  <c:v>0.2844227173000749</c:v>
                </c:pt>
                <c:pt idx="46">
                  <c:v>0.28613078497489414</c:v>
                </c:pt>
                <c:pt idx="47">
                  <c:v>0.29625157677224273</c:v>
                </c:pt>
                <c:pt idx="48">
                  <c:v>0.31093703218333235</c:v>
                </c:pt>
                <c:pt idx="49">
                  <c:v>0.32531817668683932</c:v>
                </c:pt>
                <c:pt idx="50">
                  <c:v>0.34455357099033546</c:v>
                </c:pt>
                <c:pt idx="51">
                  <c:v>0.36152626644874053</c:v>
                </c:pt>
                <c:pt idx="52">
                  <c:v>0.3646380908907963</c:v>
                </c:pt>
                <c:pt idx="53">
                  <c:v>0.36674863428209598</c:v>
                </c:pt>
                <c:pt idx="54">
                  <c:v>0.38079601843535082</c:v>
                </c:pt>
                <c:pt idx="55">
                  <c:v>0.39626188407717688</c:v>
                </c:pt>
                <c:pt idx="56">
                  <c:v>0.4089006032227504</c:v>
                </c:pt>
                <c:pt idx="57">
                  <c:v>0.42315904171513524</c:v>
                </c:pt>
                <c:pt idx="58">
                  <c:v>0.43680885839235462</c:v>
                </c:pt>
                <c:pt idx="59">
                  <c:v>0.44010719597131592</c:v>
                </c:pt>
                <c:pt idx="60">
                  <c:v>0.44212448279416283</c:v>
                </c:pt>
                <c:pt idx="61">
                  <c:v>0.45355086654985022</c:v>
                </c:pt>
                <c:pt idx="62">
                  <c:v>0.46461404051261629</c:v>
                </c:pt>
                <c:pt idx="63">
                  <c:v>0.47717422781107166</c:v>
                </c:pt>
                <c:pt idx="64">
                  <c:v>0.48980313047575541</c:v>
                </c:pt>
                <c:pt idx="65">
                  <c:v>0.49994355523488349</c:v>
                </c:pt>
                <c:pt idx="66">
                  <c:v>0.50260382155601002</c:v>
                </c:pt>
                <c:pt idx="67">
                  <c:v>0.50443950348239619</c:v>
                </c:pt>
                <c:pt idx="68">
                  <c:v>0.51215525746175217</c:v>
                </c:pt>
                <c:pt idx="69">
                  <c:v>0.52109807155232879</c:v>
                </c:pt>
                <c:pt idx="70">
                  <c:v>0.53189620053107123</c:v>
                </c:pt>
                <c:pt idx="71">
                  <c:v>0.54259616470091598</c:v>
                </c:pt>
                <c:pt idx="72">
                  <c:v>0.54980636991444898</c:v>
                </c:pt>
                <c:pt idx="73">
                  <c:v>0.55199053691242184</c:v>
                </c:pt>
                <c:pt idx="74">
                  <c:v>0.55350227496944582</c:v>
                </c:pt>
                <c:pt idx="75">
                  <c:v>0.55784115952272229</c:v>
                </c:pt>
                <c:pt idx="76">
                  <c:v>0.5639470106361566</c:v>
                </c:pt>
                <c:pt idx="77">
                  <c:v>0.56961112010955151</c:v>
                </c:pt>
                <c:pt idx="78">
                  <c:v>0.57593293380256072</c:v>
                </c:pt>
                <c:pt idx="79">
                  <c:v>0.5816363091995147</c:v>
                </c:pt>
                <c:pt idx="80">
                  <c:v>0.58329038622944018</c:v>
                </c:pt>
                <c:pt idx="81">
                  <c:v>0.58408552118151125</c:v>
                </c:pt>
                <c:pt idx="82">
                  <c:v>0.5875998213400474</c:v>
                </c:pt>
                <c:pt idx="83">
                  <c:v>0.59160985378351671</c:v>
                </c:pt>
                <c:pt idx="84">
                  <c:v>0.59568369335276949</c:v>
                </c:pt>
                <c:pt idx="85">
                  <c:v>0.60055266787409334</c:v>
                </c:pt>
                <c:pt idx="86">
                  <c:v>0.60470994753090923</c:v>
                </c:pt>
                <c:pt idx="87">
                  <c:v>0.60560815553232283</c:v>
                </c:pt>
                <c:pt idx="88">
                  <c:v>0.60609897957681103</c:v>
                </c:pt>
                <c:pt idx="89">
                  <c:v>0.60915190513352824</c:v>
                </c:pt>
                <c:pt idx="90">
                  <c:v>0.61381964179661186</c:v>
                </c:pt>
                <c:pt idx="91">
                  <c:v>0.61829595708234508</c:v>
                </c:pt>
                <c:pt idx="92">
                  <c:v>0.62274282292540906</c:v>
                </c:pt>
                <c:pt idx="93">
                  <c:v>0.62394534183440531</c:v>
                </c:pt>
                <c:pt idx="94">
                  <c:v>0.62439199171488968</c:v>
                </c:pt>
                <c:pt idx="95">
                  <c:v>0.62468648614158262</c:v>
                </c:pt>
                <c:pt idx="96">
                  <c:v>0.62493680640427174</c:v>
                </c:pt>
                <c:pt idx="97">
                  <c:v>0.62762161392762261</c:v>
                </c:pt>
                <c:pt idx="98">
                  <c:v>0.63166600405420614</c:v>
                </c:pt>
                <c:pt idx="99">
                  <c:v>0.63791910238098704</c:v>
                </c:pt>
                <c:pt idx="100">
                  <c:v>0.64281752634498013</c:v>
                </c:pt>
                <c:pt idx="101">
                  <c:v>0.64422619135266157</c:v>
                </c:pt>
                <c:pt idx="102">
                  <c:v>0.64497224390028374</c:v>
                </c:pt>
                <c:pt idx="103">
                  <c:v>0.6484620028565955</c:v>
                </c:pt>
                <c:pt idx="104">
                  <c:v>0.65228061392271441</c:v>
                </c:pt>
                <c:pt idx="105">
                  <c:v>0.65539243836477012</c:v>
                </c:pt>
                <c:pt idx="106">
                  <c:v>0.65934357192290094</c:v>
                </c:pt>
                <c:pt idx="107">
                  <c:v>0.66195966408002349</c:v>
                </c:pt>
                <c:pt idx="108">
                  <c:v>0.6624848458076259</c:v>
                </c:pt>
                <c:pt idx="109">
                  <c:v>0.66301493577567328</c:v>
                </c:pt>
                <c:pt idx="110">
                  <c:v>0.66493405778962256</c:v>
                </c:pt>
                <c:pt idx="111">
                  <c:v>0.66732437088628049</c:v>
                </c:pt>
                <c:pt idx="112">
                  <c:v>0.66984229823450547</c:v>
                </c:pt>
                <c:pt idx="113">
                  <c:v>0.67301792980234465</c:v>
                </c:pt>
                <c:pt idx="114">
                  <c:v>0.67528553688788062</c:v>
                </c:pt>
                <c:pt idx="115">
                  <c:v>0.67583525981770742</c:v>
                </c:pt>
                <c:pt idx="116">
                  <c:v>0.67620337785107365</c:v>
                </c:pt>
                <c:pt idx="117">
                  <c:v>0.67796052793034178</c:v>
                </c:pt>
                <c:pt idx="118">
                  <c:v>0.68012015372609025</c:v>
                </c:pt>
                <c:pt idx="119">
                  <c:v>0.68229450424317339</c:v>
                </c:pt>
                <c:pt idx="120">
                  <c:v>0.68476825742739433</c:v>
                </c:pt>
                <c:pt idx="121">
                  <c:v>0.68640760973598525</c:v>
                </c:pt>
                <c:pt idx="122">
                  <c:v>0.68679536073113101</c:v>
                </c:pt>
                <c:pt idx="123">
                  <c:v>0.68720765292850117</c:v>
                </c:pt>
                <c:pt idx="124">
                  <c:v>0.68885682171798179</c:v>
                </c:pt>
                <c:pt idx="125">
                  <c:v>0.69087901678127361</c:v>
                </c:pt>
                <c:pt idx="126">
                  <c:v>0.69299937665346301</c:v>
                </c:pt>
                <c:pt idx="127">
                  <c:v>0.69588051379460925</c:v>
                </c:pt>
                <c:pt idx="128">
                  <c:v>0.69774564516366477</c:v>
                </c:pt>
                <c:pt idx="129">
                  <c:v>0.69823156096770822</c:v>
                </c:pt>
                <c:pt idx="130">
                  <c:v>0.69858004603929491</c:v>
                </c:pt>
                <c:pt idx="131">
                  <c:v>0.70029793019500386</c:v>
                </c:pt>
                <c:pt idx="132">
                  <c:v>0.70242319830763822</c:v>
                </c:pt>
                <c:pt idx="133">
                  <c:v>0.70454846642027247</c:v>
                </c:pt>
                <c:pt idx="134">
                  <c:v>0.70667373453290683</c:v>
                </c:pt>
                <c:pt idx="135">
                  <c:v>0.70879900264554108</c:v>
                </c:pt>
                <c:pt idx="136">
                  <c:v>0.71092427075817544</c:v>
                </c:pt>
                <c:pt idx="137">
                  <c:v>0.71304953887080968</c:v>
                </c:pt>
                <c:pt idx="138">
                  <c:v>0.71517480698344404</c:v>
                </c:pt>
                <c:pt idx="139">
                  <c:v>0.71730007509607829</c:v>
                </c:pt>
                <c:pt idx="140">
                  <c:v>0.71942534320871254</c:v>
                </c:pt>
                <c:pt idx="141">
                  <c:v>0.7215506113213469</c:v>
                </c:pt>
                <c:pt idx="142">
                  <c:v>0.72367587943398115</c:v>
                </c:pt>
                <c:pt idx="143">
                  <c:v>0.72580114754661551</c:v>
                </c:pt>
                <c:pt idx="144">
                  <c:v>0.72792641565924976</c:v>
                </c:pt>
                <c:pt idx="145">
                  <c:v>0.73005168377188412</c:v>
                </c:pt>
                <c:pt idx="146">
                  <c:v>0.73217695188451837</c:v>
                </c:pt>
                <c:pt idx="147">
                  <c:v>0.73430221999715273</c:v>
                </c:pt>
                <c:pt idx="148">
                  <c:v>0.73642748810978698</c:v>
                </c:pt>
                <c:pt idx="149">
                  <c:v>0.73855275622242134</c:v>
                </c:pt>
                <c:pt idx="150">
                  <c:v>0.74067802433505558</c:v>
                </c:pt>
                <c:pt idx="151">
                  <c:v>0.74280329244768994</c:v>
                </c:pt>
                <c:pt idx="152">
                  <c:v>0.74492856056032419</c:v>
                </c:pt>
                <c:pt idx="153">
                  <c:v>0.74564025542483225</c:v>
                </c:pt>
                <c:pt idx="154">
                  <c:v>0.7463519502893402</c:v>
                </c:pt>
                <c:pt idx="155">
                  <c:v>0.74706364515384827</c:v>
                </c:pt>
                <c:pt idx="156">
                  <c:v>0.74777534001835633</c:v>
                </c:pt>
                <c:pt idx="157">
                  <c:v>0.74848703488286428</c:v>
                </c:pt>
                <c:pt idx="158">
                  <c:v>0.74919872974737234</c:v>
                </c:pt>
                <c:pt idx="159">
                  <c:v>0.7499104246118804</c:v>
                </c:pt>
                <c:pt idx="160">
                  <c:v>0.75062211947638835</c:v>
                </c:pt>
                <c:pt idx="161">
                  <c:v>0.75133381434089641</c:v>
                </c:pt>
                <c:pt idx="162">
                  <c:v>0.75204550920540447</c:v>
                </c:pt>
                <c:pt idx="163">
                  <c:v>0.75275720406991242</c:v>
                </c:pt>
                <c:pt idx="164">
                  <c:v>0.75346889893442048</c:v>
                </c:pt>
                <c:pt idx="165">
                  <c:v>0.75418059379892843</c:v>
                </c:pt>
                <c:pt idx="166">
                  <c:v>0.75489228866343649</c:v>
                </c:pt>
                <c:pt idx="167">
                  <c:v>0.75560398352794456</c:v>
                </c:pt>
                <c:pt idx="168">
                  <c:v>0.75631567839245251</c:v>
                </c:pt>
                <c:pt idx="169">
                  <c:v>0.75702737325696057</c:v>
                </c:pt>
                <c:pt idx="170">
                  <c:v>0.75773906812146863</c:v>
                </c:pt>
                <c:pt idx="171">
                  <c:v>0.75845076298597658</c:v>
                </c:pt>
                <c:pt idx="172">
                  <c:v>0.75916245785048464</c:v>
                </c:pt>
                <c:pt idx="173">
                  <c:v>0.7598741527149927</c:v>
                </c:pt>
                <c:pt idx="174">
                  <c:v>0.76058584757950065</c:v>
                </c:pt>
                <c:pt idx="175">
                  <c:v>0.76129754244400871</c:v>
                </c:pt>
                <c:pt idx="176">
                  <c:v>0.76200923730851677</c:v>
                </c:pt>
                <c:pt idx="177">
                  <c:v>0.76272093217302472</c:v>
                </c:pt>
                <c:pt idx="178">
                  <c:v>0.76343262703753278</c:v>
                </c:pt>
                <c:pt idx="179">
                  <c:v>0.76414432190204085</c:v>
                </c:pt>
                <c:pt idx="180">
                  <c:v>0.7648560167665488</c:v>
                </c:pt>
                <c:pt idx="181">
                  <c:v>0.76556771163105686</c:v>
                </c:pt>
                <c:pt idx="182">
                  <c:v>0.766279406495564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B-F267-42C6-AC42-927B0F02AEC7}"/>
            </c:ext>
          </c:extLst>
        </c:ser>
        <c:ser>
          <c:idx val="15"/>
          <c:order val="15"/>
          <c:tx>
            <c:strRef>
              <c:f>List1!$Q$1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m/d/yyyy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Q$5:$Q$187</c:f>
              <c:numCache>
                <c:formatCode>0.00%</c:formatCode>
                <c:ptCount val="183"/>
                <c:pt idx="0">
                  <c:v>1.1685055053512773E-3</c:v>
                </c:pt>
                <c:pt idx="1">
                  <c:v>1.3143174860496118E-3</c:v>
                </c:pt>
                <c:pt idx="2">
                  <c:v>1.3434575526363388E-3</c:v>
                </c:pt>
                <c:pt idx="3">
                  <c:v>1.4845803272172688E-3</c:v>
                </c:pt>
                <c:pt idx="4">
                  <c:v>1.5866263841531629E-3</c:v>
                </c:pt>
                <c:pt idx="5">
                  <c:v>1.9846506653090298E-3</c:v>
                </c:pt>
                <c:pt idx="6">
                  <c:v>2.4860607765771923E-3</c:v>
                </c:pt>
                <c:pt idx="7">
                  <c:v>3.1350692327788907E-3</c:v>
                </c:pt>
                <c:pt idx="8">
                  <c:v>4.0207709501448073E-3</c:v>
                </c:pt>
                <c:pt idx="9">
                  <c:v>5.1290983103227288E-3</c:v>
                </c:pt>
                <c:pt idx="10">
                  <c:v>5.3538452606640367E-3</c:v>
                </c:pt>
                <c:pt idx="11">
                  <c:v>5.5491172011245165E-3</c:v>
                </c:pt>
                <c:pt idx="12">
                  <c:v>6.641478930950323E-3</c:v>
                </c:pt>
                <c:pt idx="13">
                  <c:v>8.1318649419319967E-3</c:v>
                </c:pt>
                <c:pt idx="14">
                  <c:v>9.6359836279717847E-3</c:v>
                </c:pt>
                <c:pt idx="15">
                  <c:v>1.1327893854237145E-2</c:v>
                </c:pt>
                <c:pt idx="16">
                  <c:v>1.2882030738862578E-2</c:v>
                </c:pt>
                <c:pt idx="17">
                  <c:v>1.3258618649196025E-2</c:v>
                </c:pt>
                <c:pt idx="18">
                  <c:v>1.3548121303063392E-2</c:v>
                </c:pt>
                <c:pt idx="19">
                  <c:v>1.4937912678050273E-2</c:v>
                </c:pt>
                <c:pt idx="20">
                  <c:v>1.633373303233096E-2</c:v>
                </c:pt>
                <c:pt idx="21">
                  <c:v>1.7846002005193855E-2</c:v>
                </c:pt>
                <c:pt idx="22">
                  <c:v>1.9581119916398153E-2</c:v>
                </c:pt>
                <c:pt idx="23">
                  <c:v>2.122658467254827E-2</c:v>
                </c:pt>
                <c:pt idx="24">
                  <c:v>2.1592119454176408E-2</c:v>
                </c:pt>
                <c:pt idx="25">
                  <c:v>2.1842657038163439E-2</c:v>
                </c:pt>
                <c:pt idx="26">
                  <c:v>2.2914028988225626E-2</c:v>
                </c:pt>
                <c:pt idx="27">
                  <c:v>2.4085660630988506E-2</c:v>
                </c:pt>
                <c:pt idx="28">
                  <c:v>2.5088592501289531E-2</c:v>
                </c:pt>
                <c:pt idx="29">
                  <c:v>2.5873364639366556E-2</c:v>
                </c:pt>
                <c:pt idx="30">
                  <c:v>2.656267793862499E-2</c:v>
                </c:pt>
                <c:pt idx="31">
                  <c:v>2.6642841033679664E-2</c:v>
                </c:pt>
                <c:pt idx="32">
                  <c:v>2.6721106116734436E-2</c:v>
                </c:pt>
                <c:pt idx="33">
                  <c:v>2.7160663366358744E-2</c:v>
                </c:pt>
                <c:pt idx="34">
                  <c:v>2.7620093918099664E-2</c:v>
                </c:pt>
                <c:pt idx="35">
                  <c:v>2.8109222775250818E-2</c:v>
                </c:pt>
                <c:pt idx="36">
                  <c:v>2.8652947389340318E-2</c:v>
                </c:pt>
                <c:pt idx="37">
                  <c:v>2.9259306399426577E-2</c:v>
                </c:pt>
                <c:pt idx="38">
                  <c:v>2.9352643930715863E-2</c:v>
                </c:pt>
                <c:pt idx="39">
                  <c:v>2.944698629188745E-2</c:v>
                </c:pt>
                <c:pt idx="40">
                  <c:v>2.9894582180570162E-2</c:v>
                </c:pt>
                <c:pt idx="41">
                  <c:v>3.0457063619129282E-2</c:v>
                </c:pt>
                <c:pt idx="42">
                  <c:v>3.1073247632509151E-2</c:v>
                </c:pt>
                <c:pt idx="43">
                  <c:v>3.1774283947061097E-2</c:v>
                </c:pt>
                <c:pt idx="44">
                  <c:v>3.2523328800434084E-2</c:v>
                </c:pt>
                <c:pt idx="45">
                  <c:v>3.2698392495483848E-2</c:v>
                </c:pt>
                <c:pt idx="46">
                  <c:v>3.2808700487007549E-2</c:v>
                </c:pt>
                <c:pt idx="47">
                  <c:v>3.3516435667441502E-2</c:v>
                </c:pt>
                <c:pt idx="48">
                  <c:v>3.4477387978215285E-2</c:v>
                </c:pt>
                <c:pt idx="49">
                  <c:v>3.5554677259806579E-2</c:v>
                </c:pt>
                <c:pt idx="50">
                  <c:v>3.692113425197114E-2</c:v>
                </c:pt>
                <c:pt idx="51">
                  <c:v>3.823187900955035E-2</c:v>
                </c:pt>
                <c:pt idx="52">
                  <c:v>3.8446354365539247E-2</c:v>
                </c:pt>
                <c:pt idx="53">
                  <c:v>3.856057002882745E-2</c:v>
                </c:pt>
                <c:pt idx="54">
                  <c:v>3.9683969837239888E-2</c:v>
                </c:pt>
                <c:pt idx="55">
                  <c:v>4.1113172873165904E-2</c:v>
                </c:pt>
                <c:pt idx="56">
                  <c:v>4.2649892706498126E-2</c:v>
                </c:pt>
                <c:pt idx="57">
                  <c:v>4.4643363545218459E-2</c:v>
                </c:pt>
                <c:pt idx="58">
                  <c:v>4.6432072383478809E-2</c:v>
                </c:pt>
                <c:pt idx="59">
                  <c:v>4.6758977038520715E-2</c:v>
                </c:pt>
                <c:pt idx="60">
                  <c:v>4.7018781386977848E-2</c:v>
                </c:pt>
                <c:pt idx="61">
                  <c:v>4.9171015347101735E-2</c:v>
                </c:pt>
                <c:pt idx="62">
                  <c:v>5.2163175441064497E-2</c:v>
                </c:pt>
                <c:pt idx="63">
                  <c:v>5.5550680269830316E-2</c:v>
                </c:pt>
                <c:pt idx="64">
                  <c:v>5.9214513316228894E-2</c:v>
                </c:pt>
                <c:pt idx="65">
                  <c:v>6.2393906711593727E-2</c:v>
                </c:pt>
                <c:pt idx="66">
                  <c:v>6.3728990681877554E-2</c:v>
                </c:pt>
                <c:pt idx="67">
                  <c:v>6.4996192811223721E-2</c:v>
                </c:pt>
                <c:pt idx="68">
                  <c:v>6.8285670902582862E-2</c:v>
                </c:pt>
                <c:pt idx="69">
                  <c:v>7.229817991813986E-2</c:v>
                </c:pt>
                <c:pt idx="70">
                  <c:v>7.6859995936021358E-2</c:v>
                </c:pt>
                <c:pt idx="71">
                  <c:v>8.1813025721412025E-2</c:v>
                </c:pt>
                <c:pt idx="72">
                  <c:v>8.6092484542366982E-2</c:v>
                </c:pt>
                <c:pt idx="73">
                  <c:v>8.7985918983916028E-2</c:v>
                </c:pt>
                <c:pt idx="74">
                  <c:v>8.932870664996416E-2</c:v>
                </c:pt>
                <c:pt idx="75">
                  <c:v>9.2459309972155054E-2</c:v>
                </c:pt>
                <c:pt idx="76">
                  <c:v>9.6761879880402912E-2</c:v>
                </c:pt>
                <c:pt idx="77">
                  <c:v>0.10090881280465884</c:v>
                </c:pt>
                <c:pt idx="78">
                  <c:v>0.10509638551526559</c:v>
                </c:pt>
                <c:pt idx="79">
                  <c:v>0.10888883678659869</c:v>
                </c:pt>
                <c:pt idx="80">
                  <c:v>0.11055931064204164</c:v>
                </c:pt>
                <c:pt idx="81">
                  <c:v>0.1113780237005875</c:v>
                </c:pt>
                <c:pt idx="82">
                  <c:v>0.11406527374915428</c:v>
                </c:pt>
                <c:pt idx="83">
                  <c:v>0.11699457615159087</c:v>
                </c:pt>
                <c:pt idx="84">
                  <c:v>0.11995335356390829</c:v>
                </c:pt>
                <c:pt idx="85">
                  <c:v>0.12285987982234607</c:v>
                </c:pt>
                <c:pt idx="86">
                  <c:v>0.12559190062455761</c:v>
                </c:pt>
                <c:pt idx="87">
                  <c:v>0.12652237309556824</c:v>
                </c:pt>
                <c:pt idx="88">
                  <c:v>0.12713353295953661</c:v>
                </c:pt>
                <c:pt idx="89">
                  <c:v>0.12923172940154565</c:v>
                </c:pt>
                <c:pt idx="90">
                  <c:v>0.13195526497363996</c:v>
                </c:pt>
                <c:pt idx="91">
                  <c:v>0.1344990476445671</c:v>
                </c:pt>
                <c:pt idx="92">
                  <c:v>0.13731625569124481</c:v>
                </c:pt>
                <c:pt idx="93">
                  <c:v>0.1380651888968531</c:v>
                </c:pt>
                <c:pt idx="94">
                  <c:v>0.13845171345824486</c:v>
                </c:pt>
                <c:pt idx="95">
                  <c:v>0.1387254737772895</c:v>
                </c:pt>
                <c:pt idx="96">
                  <c:v>0.13898070056739395</c:v>
                </c:pt>
                <c:pt idx="97">
                  <c:v>0.14075489519624326</c:v>
                </c:pt>
                <c:pt idx="98">
                  <c:v>0.14332837617258065</c:v>
                </c:pt>
                <c:pt idx="99">
                  <c:v>0.14754899662153864</c:v>
                </c:pt>
                <c:pt idx="100">
                  <c:v>0.1518321398187287</c:v>
                </c:pt>
                <c:pt idx="101">
                  <c:v>0.15353420999158177</c:v>
                </c:pt>
                <c:pt idx="102">
                  <c:v>0.15461149927317305</c:v>
                </c:pt>
                <c:pt idx="103">
                  <c:v>0.15878656743413341</c:v>
                </c:pt>
                <c:pt idx="104">
                  <c:v>0.16274046137322284</c:v>
                </c:pt>
                <c:pt idx="105">
                  <c:v>0.16700172160853169</c:v>
                </c:pt>
                <c:pt idx="106">
                  <c:v>0.17226133615578881</c:v>
                </c:pt>
                <c:pt idx="107">
                  <c:v>0.17717383780259335</c:v>
                </c:pt>
                <c:pt idx="108">
                  <c:v>0.17900832222438073</c:v>
                </c:pt>
                <c:pt idx="109">
                  <c:v>0.18044567554712987</c:v>
                </c:pt>
                <c:pt idx="110">
                  <c:v>0.18529375643370244</c:v>
                </c:pt>
                <c:pt idx="111">
                  <c:v>0.18995248271134363</c:v>
                </c:pt>
                <c:pt idx="112">
                  <c:v>0.19520751970024808</c:v>
                </c:pt>
                <c:pt idx="113">
                  <c:v>0.20121383449781952</c:v>
                </c:pt>
                <c:pt idx="114">
                  <c:v>0.20672264685588729</c:v>
                </c:pt>
                <c:pt idx="115">
                  <c:v>0.2086809486487271</c:v>
                </c:pt>
                <c:pt idx="116">
                  <c:v>0.21029593356511408</c:v>
                </c:pt>
                <c:pt idx="117">
                  <c:v>0.21575707232765493</c:v>
                </c:pt>
                <c:pt idx="118">
                  <c:v>0.22114776135066999</c:v>
                </c:pt>
                <c:pt idx="119">
                  <c:v>0.22763974392468689</c:v>
                </c:pt>
                <c:pt idx="120">
                  <c:v>0.23485777191254853</c:v>
                </c:pt>
                <c:pt idx="121">
                  <c:v>0.24171372619948775</c:v>
                </c:pt>
                <c:pt idx="122">
                  <c:v>0.24384530532314214</c:v>
                </c:pt>
                <c:pt idx="123">
                  <c:v>0.24592842931691664</c:v>
                </c:pt>
                <c:pt idx="124">
                  <c:v>0.25334128265417999</c:v>
                </c:pt>
                <c:pt idx="125">
                  <c:v>0.26064405129544899</c:v>
                </c:pt>
                <c:pt idx="126">
                  <c:v>0.26867699631785674</c:v>
                </c:pt>
                <c:pt idx="127">
                  <c:v>0.27742683163740378</c:v>
                </c:pt>
                <c:pt idx="128">
                  <c:v>0.28588314498355427</c:v>
                </c:pt>
                <c:pt idx="129">
                  <c:v>0.28911132845209309</c:v>
                </c:pt>
                <c:pt idx="130">
                  <c:v>0.29178998162277792</c:v>
                </c:pt>
                <c:pt idx="131">
                  <c:v>0.29946833334449813</c:v>
                </c:pt>
                <c:pt idx="132">
                  <c:v>0.31215006799348871</c:v>
                </c:pt>
                <c:pt idx="133">
                  <c:v>0.32483180264247929</c:v>
                </c:pt>
                <c:pt idx="134">
                  <c:v>0.33751353729146988</c:v>
                </c:pt>
                <c:pt idx="135">
                  <c:v>0.35019527194046046</c:v>
                </c:pt>
                <c:pt idx="136">
                  <c:v>0.36287700658945105</c:v>
                </c:pt>
                <c:pt idx="137">
                  <c:v>0.37555874123844168</c:v>
                </c:pt>
                <c:pt idx="138">
                  <c:v>0.38824047588743227</c:v>
                </c:pt>
                <c:pt idx="139">
                  <c:v>0.40092221053642285</c:v>
                </c:pt>
                <c:pt idx="140">
                  <c:v>0.41312363650167361</c:v>
                </c:pt>
                <c:pt idx="141">
                  <c:v>0.42532506246692436</c:v>
                </c:pt>
                <c:pt idx="142">
                  <c:v>0.43752648843217512</c:v>
                </c:pt>
                <c:pt idx="143">
                  <c:v>0.44972791439742588</c:v>
                </c:pt>
                <c:pt idx="144">
                  <c:v>0.4595563787717406</c:v>
                </c:pt>
                <c:pt idx="145">
                  <c:v>0.46596897978505575</c:v>
                </c:pt>
                <c:pt idx="146">
                  <c:v>0.47238158079837084</c:v>
                </c:pt>
                <c:pt idx="147">
                  <c:v>0.47879418181168593</c:v>
                </c:pt>
                <c:pt idx="148">
                  <c:v>0.48520678282500107</c:v>
                </c:pt>
                <c:pt idx="149">
                  <c:v>0.48900559801892207</c:v>
                </c:pt>
                <c:pt idx="150">
                  <c:v>0.49280441321284307</c:v>
                </c:pt>
                <c:pt idx="151">
                  <c:v>0.49363027172832974</c:v>
                </c:pt>
                <c:pt idx="152">
                  <c:v>0.49445613024381641</c:v>
                </c:pt>
                <c:pt idx="153">
                  <c:v>0.49961459191625524</c:v>
                </c:pt>
                <c:pt idx="154">
                  <c:v>0.50477305358869407</c:v>
                </c:pt>
                <c:pt idx="155">
                  <c:v>0.50993151526113301</c:v>
                </c:pt>
                <c:pt idx="156">
                  <c:v>0.51508997693357184</c:v>
                </c:pt>
                <c:pt idx="157">
                  <c:v>0.52024843860601067</c:v>
                </c:pt>
                <c:pt idx="158">
                  <c:v>0.5254069002784495</c:v>
                </c:pt>
                <c:pt idx="159">
                  <c:v>0.53056536195088844</c:v>
                </c:pt>
                <c:pt idx="160">
                  <c:v>0.53572382362332727</c:v>
                </c:pt>
                <c:pt idx="161">
                  <c:v>0.5408822852957661</c:v>
                </c:pt>
                <c:pt idx="162">
                  <c:v>0.54604074696820493</c:v>
                </c:pt>
                <c:pt idx="163">
                  <c:v>0.55119920864064376</c:v>
                </c:pt>
                <c:pt idx="164">
                  <c:v>0.5563576703130827</c:v>
                </c:pt>
                <c:pt idx="165">
                  <c:v>0.56151613198552153</c:v>
                </c:pt>
                <c:pt idx="166">
                  <c:v>0.56667459365796036</c:v>
                </c:pt>
                <c:pt idx="167">
                  <c:v>0.57183305533039919</c:v>
                </c:pt>
                <c:pt idx="168">
                  <c:v>0.57699151700283813</c:v>
                </c:pt>
                <c:pt idx="169">
                  <c:v>0.58214997867527696</c:v>
                </c:pt>
                <c:pt idx="170">
                  <c:v>0.58730844034771579</c:v>
                </c:pt>
                <c:pt idx="171">
                  <c:v>0.59246690202015462</c:v>
                </c:pt>
                <c:pt idx="172">
                  <c:v>0.59762536369259356</c:v>
                </c:pt>
                <c:pt idx="173">
                  <c:v>0.60278382536503239</c:v>
                </c:pt>
                <c:pt idx="174">
                  <c:v>0.60794228703747122</c:v>
                </c:pt>
                <c:pt idx="175">
                  <c:v>0.61310074870991005</c:v>
                </c:pt>
                <c:pt idx="176">
                  <c:v>0.61825921038234899</c:v>
                </c:pt>
                <c:pt idx="177">
                  <c:v>0.62341767205478782</c:v>
                </c:pt>
                <c:pt idx="178">
                  <c:v>0.62857613372722665</c:v>
                </c:pt>
                <c:pt idx="179">
                  <c:v>0.63373459539966548</c:v>
                </c:pt>
                <c:pt idx="180">
                  <c:v>0.63889305707210431</c:v>
                </c:pt>
                <c:pt idx="181">
                  <c:v>0.64405151874454325</c:v>
                </c:pt>
                <c:pt idx="182">
                  <c:v>0.649209980416982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FE2-4BBA-AEE0-CD96FFDF36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31664431"/>
        <c:axId val="711924943"/>
      </c:lineChart>
      <c:dateAx>
        <c:axId val="83166443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11924943"/>
        <c:crosses val="autoZero"/>
        <c:auto val="1"/>
        <c:lblOffset val="100"/>
        <c:baseTimeUnit val="days"/>
      </c:dateAx>
      <c:valAx>
        <c:axId val="71192494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3166443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91500889513993311"/>
          <c:y val="3.3915582154437109E-2"/>
          <c:w val="7.8409173737335566E-2"/>
          <c:h val="0.8913624188649099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900"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4751479373803749E-2"/>
          <c:y val="5.1305499090126168E-2"/>
          <c:w val="0.76873694906851719"/>
          <c:h val="0.7502938956739218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čkovaní celkem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182"/>
              <c:layout/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F856-4821-BCF7-F85421DAACAA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5:$A$187</c:f>
              <c:numCache>
                <c:formatCode>dd/mm/yy;@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B$5:$B$187</c:f>
              <c:numCache>
                <c:formatCode>0.00%</c:formatCode>
                <c:ptCount val="183"/>
                <c:pt idx="0">
                  <c:v>9.7999999999999997E-4</c:v>
                </c:pt>
                <c:pt idx="1">
                  <c:v>1.1000000000000001E-3</c:v>
                </c:pt>
                <c:pt idx="2">
                  <c:v>1.1199999999999999E-3</c:v>
                </c:pt>
                <c:pt idx="3">
                  <c:v>1.24E-3</c:v>
                </c:pt>
                <c:pt idx="4">
                  <c:v>1.33E-3</c:v>
                </c:pt>
                <c:pt idx="5">
                  <c:v>1.66E-3</c:v>
                </c:pt>
                <c:pt idx="6">
                  <c:v>2.0799999999999998E-3</c:v>
                </c:pt>
                <c:pt idx="7">
                  <c:v>2.6199999999999999E-3</c:v>
                </c:pt>
                <c:pt idx="8">
                  <c:v>3.3700000000000002E-3</c:v>
                </c:pt>
                <c:pt idx="9">
                  <c:v>4.2900000000000004E-3</c:v>
                </c:pt>
                <c:pt idx="10">
                  <c:v>4.4799999999999996E-3</c:v>
                </c:pt>
                <c:pt idx="11">
                  <c:v>4.64E-3</c:v>
                </c:pt>
                <c:pt idx="12">
                  <c:v>5.5599999999999998E-3</c:v>
                </c:pt>
                <c:pt idx="13">
                  <c:v>6.8100000000000001E-3</c:v>
                </c:pt>
                <c:pt idx="14">
                  <c:v>8.0599999999999995E-3</c:v>
                </c:pt>
                <c:pt idx="15">
                  <c:v>9.4800000000000006E-3</c:v>
                </c:pt>
                <c:pt idx="16">
                  <c:v>1.078E-2</c:v>
                </c:pt>
                <c:pt idx="17">
                  <c:v>1.11E-2</c:v>
                </c:pt>
                <c:pt idx="18">
                  <c:v>1.1339999999999999E-2</c:v>
                </c:pt>
                <c:pt idx="19">
                  <c:v>1.2500000000000001E-2</c:v>
                </c:pt>
                <c:pt idx="20">
                  <c:v>1.367E-2</c:v>
                </c:pt>
                <c:pt idx="21">
                  <c:v>1.494E-2</c:v>
                </c:pt>
                <c:pt idx="22">
                  <c:v>1.6389999999999998E-2</c:v>
                </c:pt>
                <c:pt idx="23">
                  <c:v>1.7770000000000001E-2</c:v>
                </c:pt>
                <c:pt idx="24">
                  <c:v>1.8069999999999999E-2</c:v>
                </c:pt>
                <c:pt idx="25">
                  <c:v>1.8280000000000001E-2</c:v>
                </c:pt>
                <c:pt idx="26">
                  <c:v>1.9179999999999999E-2</c:v>
                </c:pt>
                <c:pt idx="27">
                  <c:v>2.0160000000000001E-2</c:v>
                </c:pt>
                <c:pt idx="28">
                  <c:v>2.1000000000000001E-2</c:v>
                </c:pt>
                <c:pt idx="29">
                  <c:v>2.1649999999999999E-2</c:v>
                </c:pt>
                <c:pt idx="30">
                  <c:v>2.223E-2</c:v>
                </c:pt>
                <c:pt idx="31">
                  <c:v>2.23E-2</c:v>
                </c:pt>
                <c:pt idx="32">
                  <c:v>2.2360000000000001E-2</c:v>
                </c:pt>
                <c:pt idx="33">
                  <c:v>2.273E-2</c:v>
                </c:pt>
                <c:pt idx="34">
                  <c:v>2.3120000000000002E-2</c:v>
                </c:pt>
                <c:pt idx="35">
                  <c:v>2.3529999999999999E-2</c:v>
                </c:pt>
                <c:pt idx="36">
                  <c:v>2.3980000000000001E-2</c:v>
                </c:pt>
                <c:pt idx="37">
                  <c:v>2.4490000000000001E-2</c:v>
                </c:pt>
                <c:pt idx="38">
                  <c:v>2.4570000000000002E-2</c:v>
                </c:pt>
                <c:pt idx="39">
                  <c:v>2.4649999999999998E-2</c:v>
                </c:pt>
                <c:pt idx="40">
                  <c:v>2.5020000000000001E-2</c:v>
                </c:pt>
                <c:pt idx="41">
                  <c:v>2.5489999999999999E-2</c:v>
                </c:pt>
                <c:pt idx="42">
                  <c:v>2.6009999999999998E-2</c:v>
                </c:pt>
                <c:pt idx="43">
                  <c:v>2.6589999999999999E-2</c:v>
                </c:pt>
                <c:pt idx="44">
                  <c:v>2.7220000000000001E-2</c:v>
                </c:pt>
                <c:pt idx="45">
                  <c:v>2.7369999999999998E-2</c:v>
                </c:pt>
                <c:pt idx="46">
                  <c:v>2.7459999999999998E-2</c:v>
                </c:pt>
                <c:pt idx="47">
                  <c:v>2.8049999999999999E-2</c:v>
                </c:pt>
                <c:pt idx="48">
                  <c:v>2.886E-2</c:v>
                </c:pt>
                <c:pt idx="49">
                  <c:v>2.9760000000000002E-2</c:v>
                </c:pt>
                <c:pt idx="50">
                  <c:v>3.09E-2</c:v>
                </c:pt>
                <c:pt idx="51">
                  <c:v>3.2000000000000001E-2</c:v>
                </c:pt>
                <c:pt idx="52">
                  <c:v>3.218E-2</c:v>
                </c:pt>
                <c:pt idx="53">
                  <c:v>3.227E-2</c:v>
                </c:pt>
                <c:pt idx="54">
                  <c:v>3.3210000000000003E-2</c:v>
                </c:pt>
                <c:pt idx="55">
                  <c:v>3.4410000000000003E-2</c:v>
                </c:pt>
                <c:pt idx="56">
                  <c:v>3.5700000000000003E-2</c:v>
                </c:pt>
                <c:pt idx="57">
                  <c:v>3.7359999999999997E-2</c:v>
                </c:pt>
                <c:pt idx="58">
                  <c:v>3.8859999999999999E-2</c:v>
                </c:pt>
                <c:pt idx="59">
                  <c:v>3.9129999999999998E-2</c:v>
                </c:pt>
                <c:pt idx="60">
                  <c:v>3.9350000000000003E-2</c:v>
                </c:pt>
                <c:pt idx="61">
                  <c:v>4.1149999999999999E-2</c:v>
                </c:pt>
                <c:pt idx="62">
                  <c:v>4.3659999999999997E-2</c:v>
                </c:pt>
                <c:pt idx="63">
                  <c:v>4.6489999999999997E-2</c:v>
                </c:pt>
                <c:pt idx="64">
                  <c:v>4.956E-2</c:v>
                </c:pt>
                <c:pt idx="65">
                  <c:v>5.2220000000000003E-2</c:v>
                </c:pt>
                <c:pt idx="66">
                  <c:v>5.3339999999999999E-2</c:v>
                </c:pt>
                <c:pt idx="67">
                  <c:v>5.4399999999999997E-2</c:v>
                </c:pt>
                <c:pt idx="68">
                  <c:v>5.7149999999999999E-2</c:v>
                </c:pt>
                <c:pt idx="69">
                  <c:v>6.0510000000000001E-2</c:v>
                </c:pt>
                <c:pt idx="70">
                  <c:v>6.4329999999999998E-2</c:v>
                </c:pt>
                <c:pt idx="71">
                  <c:v>6.8470000000000003E-2</c:v>
                </c:pt>
                <c:pt idx="72">
                  <c:v>7.2050000000000003E-2</c:v>
                </c:pt>
                <c:pt idx="73">
                  <c:v>7.3639999999999997E-2</c:v>
                </c:pt>
                <c:pt idx="74">
                  <c:v>7.4759999999999993E-2</c:v>
                </c:pt>
                <c:pt idx="75">
                  <c:v>7.7380000000000004E-2</c:v>
                </c:pt>
                <c:pt idx="76">
                  <c:v>8.0979999999999996E-2</c:v>
                </c:pt>
                <c:pt idx="77">
                  <c:v>8.4449999999999997E-2</c:v>
                </c:pt>
                <c:pt idx="78">
                  <c:v>8.7959999999999997E-2</c:v>
                </c:pt>
                <c:pt idx="79">
                  <c:v>9.1130000000000003E-2</c:v>
                </c:pt>
                <c:pt idx="80">
                  <c:v>9.2530000000000001E-2</c:v>
                </c:pt>
                <c:pt idx="81">
                  <c:v>9.3219999999999997E-2</c:v>
                </c:pt>
                <c:pt idx="82">
                  <c:v>9.5469999999999999E-2</c:v>
                </c:pt>
                <c:pt idx="83">
                  <c:v>9.7919999999999993E-2</c:v>
                </c:pt>
                <c:pt idx="84">
                  <c:v>0.10038999999999999</c:v>
                </c:pt>
                <c:pt idx="85">
                  <c:v>0.10283</c:v>
                </c:pt>
                <c:pt idx="86">
                  <c:v>0.10511</c:v>
                </c:pt>
                <c:pt idx="87">
                  <c:v>0.10589</c:v>
                </c:pt>
                <c:pt idx="88">
                  <c:v>0.10639999999999999</c:v>
                </c:pt>
                <c:pt idx="89">
                  <c:v>0.10816000000000001</c:v>
                </c:pt>
                <c:pt idx="90">
                  <c:v>0.11044</c:v>
                </c:pt>
                <c:pt idx="91">
                  <c:v>0.11257</c:v>
                </c:pt>
                <c:pt idx="92">
                  <c:v>0.11493</c:v>
                </c:pt>
                <c:pt idx="93">
                  <c:v>0.11555</c:v>
                </c:pt>
                <c:pt idx="94">
                  <c:v>0.11588</c:v>
                </c:pt>
                <c:pt idx="95">
                  <c:v>0.11609999999999999</c:v>
                </c:pt>
                <c:pt idx="96">
                  <c:v>0.11632000000000001</c:v>
                </c:pt>
                <c:pt idx="97">
                  <c:v>0.1178</c:v>
                </c:pt>
                <c:pt idx="98">
                  <c:v>0.11996</c:v>
                </c:pt>
                <c:pt idx="99">
                  <c:v>0.12349</c:v>
                </c:pt>
                <c:pt idx="100">
                  <c:v>0.12706999999999999</c:v>
                </c:pt>
                <c:pt idx="101">
                  <c:v>0.1285</c:v>
                </c:pt>
                <c:pt idx="102">
                  <c:v>0.12939999999999999</c:v>
                </c:pt>
                <c:pt idx="103">
                  <c:v>0.13289000000000001</c:v>
                </c:pt>
                <c:pt idx="104">
                  <c:v>0.13619999999999999</c:v>
                </c:pt>
                <c:pt idx="105">
                  <c:v>0.13977000000000001</c:v>
                </c:pt>
                <c:pt idx="106">
                  <c:v>0.14416999999999999</c:v>
                </c:pt>
                <c:pt idx="107">
                  <c:v>0.14828</c:v>
                </c:pt>
                <c:pt idx="108">
                  <c:v>0.14982000000000001</c:v>
                </c:pt>
                <c:pt idx="109">
                  <c:v>0.15101999999999999</c:v>
                </c:pt>
                <c:pt idx="110">
                  <c:v>0.15508</c:v>
                </c:pt>
                <c:pt idx="111">
                  <c:v>0.15898000000000001</c:v>
                </c:pt>
                <c:pt idx="112">
                  <c:v>0.16338</c:v>
                </c:pt>
                <c:pt idx="113">
                  <c:v>0.16839999999999999</c:v>
                </c:pt>
                <c:pt idx="114">
                  <c:v>0.17301</c:v>
                </c:pt>
                <c:pt idx="115">
                  <c:v>0.17465</c:v>
                </c:pt>
                <c:pt idx="116">
                  <c:v>0.17599999999999999</c:v>
                </c:pt>
                <c:pt idx="117">
                  <c:v>0.18057999999999999</c:v>
                </c:pt>
                <c:pt idx="118">
                  <c:v>0.18509</c:v>
                </c:pt>
                <c:pt idx="119">
                  <c:v>0.19051999999999999</c:v>
                </c:pt>
                <c:pt idx="120">
                  <c:v>0.19656000000000001</c:v>
                </c:pt>
                <c:pt idx="121">
                  <c:v>0.20230000000000001</c:v>
                </c:pt>
                <c:pt idx="122">
                  <c:v>0.20408000000000001</c:v>
                </c:pt>
                <c:pt idx="123">
                  <c:v>0.20583000000000001</c:v>
                </c:pt>
                <c:pt idx="124">
                  <c:v>0.21203</c:v>
                </c:pt>
                <c:pt idx="125">
                  <c:v>0.21814</c:v>
                </c:pt>
                <c:pt idx="126">
                  <c:v>0.22486999999999999</c:v>
                </c:pt>
                <c:pt idx="127">
                  <c:v>0.23219000000000001</c:v>
                </c:pt>
                <c:pt idx="128">
                  <c:v>0.23927000000000001</c:v>
                </c:pt>
                <c:pt idx="129">
                  <c:v>0.24196999999999999</c:v>
                </c:pt>
                <c:pt idx="130">
                  <c:v>0.24421000000000001</c:v>
                </c:pt>
                <c:pt idx="131">
                  <c:v>0.25063999999999997</c:v>
                </c:pt>
                <c:pt idx="132">
                  <c:v>0.26124999999999998</c:v>
                </c:pt>
                <c:pt idx="133">
                  <c:v>0.27185999999999999</c:v>
                </c:pt>
                <c:pt idx="134">
                  <c:v>0.28248000000000001</c:v>
                </c:pt>
                <c:pt idx="135">
                  <c:v>0.29309000000000002</c:v>
                </c:pt>
                <c:pt idx="136">
                  <c:v>0.30370999999999998</c:v>
                </c:pt>
                <c:pt idx="137">
                  <c:v>0.31431999999999999</c:v>
                </c:pt>
                <c:pt idx="138">
                  <c:v>0.32493</c:v>
                </c:pt>
                <c:pt idx="139">
                  <c:v>0.33555000000000001</c:v>
                </c:pt>
                <c:pt idx="140">
                  <c:v>0.34576000000000001</c:v>
                </c:pt>
                <c:pt idx="141">
                  <c:v>0.35597000000000001</c:v>
                </c:pt>
                <c:pt idx="142">
                  <c:v>0.36618000000000001</c:v>
                </c:pt>
                <c:pt idx="143">
                  <c:v>0.37640000000000001</c:v>
                </c:pt>
                <c:pt idx="144">
                  <c:v>0.38462000000000002</c:v>
                </c:pt>
                <c:pt idx="145">
                  <c:v>0.38999</c:v>
                </c:pt>
                <c:pt idx="146">
                  <c:v>0.39534999999999998</c:v>
                </c:pt>
                <c:pt idx="147">
                  <c:v>0.40072000000000002</c:v>
                </c:pt>
                <c:pt idx="148">
                  <c:v>0.40609000000000001</c:v>
                </c:pt>
                <c:pt idx="149">
                  <c:v>0.40927000000000002</c:v>
                </c:pt>
                <c:pt idx="150">
                  <c:v>0.41244999999999998</c:v>
                </c:pt>
                <c:pt idx="151">
                  <c:v>0.41314000000000001</c:v>
                </c:pt>
                <c:pt idx="152">
                  <c:v>0.41382999999999998</c:v>
                </c:pt>
                <c:pt idx="153">
                  <c:v>0.41815000000000002</c:v>
                </c:pt>
                <c:pt idx="154">
                  <c:v>0.42246</c:v>
                </c:pt>
                <c:pt idx="155">
                  <c:v>0.42677999999999999</c:v>
                </c:pt>
                <c:pt idx="156">
                  <c:v>0.43109999999999998</c:v>
                </c:pt>
                <c:pt idx="157">
                  <c:v>0.43541999999999997</c:v>
                </c:pt>
                <c:pt idx="158">
                  <c:v>0.43973000000000001</c:v>
                </c:pt>
                <c:pt idx="159">
                  <c:v>0.44405</c:v>
                </c:pt>
                <c:pt idx="160">
                  <c:v>0.44836999999999999</c:v>
                </c:pt>
                <c:pt idx="161">
                  <c:v>0.45268999999999998</c:v>
                </c:pt>
                <c:pt idx="162">
                  <c:v>0.45700000000000002</c:v>
                </c:pt>
                <c:pt idx="163">
                  <c:v>0.46132000000000001</c:v>
                </c:pt>
                <c:pt idx="164">
                  <c:v>0.46564</c:v>
                </c:pt>
                <c:pt idx="165">
                  <c:v>0.46995999999999999</c:v>
                </c:pt>
                <c:pt idx="166">
                  <c:v>0.47427000000000002</c:v>
                </c:pt>
                <c:pt idx="167">
                  <c:v>0.47859000000000002</c:v>
                </c:pt>
                <c:pt idx="168">
                  <c:v>0.48291000000000001</c:v>
                </c:pt>
                <c:pt idx="169">
                  <c:v>0.48721999999999999</c:v>
                </c:pt>
                <c:pt idx="170">
                  <c:v>0.49153999999999998</c:v>
                </c:pt>
                <c:pt idx="171">
                  <c:v>0.49586000000000002</c:v>
                </c:pt>
                <c:pt idx="172">
                  <c:v>0.50017999999999996</c:v>
                </c:pt>
                <c:pt idx="173">
                  <c:v>0.50448999999999999</c:v>
                </c:pt>
                <c:pt idx="174">
                  <c:v>0.50880999999999998</c:v>
                </c:pt>
                <c:pt idx="175">
                  <c:v>0.51312999999999998</c:v>
                </c:pt>
                <c:pt idx="176">
                  <c:v>0.51744999999999997</c:v>
                </c:pt>
                <c:pt idx="177">
                  <c:v>0.52176</c:v>
                </c:pt>
                <c:pt idx="178">
                  <c:v>0.52607999999999999</c:v>
                </c:pt>
                <c:pt idx="179">
                  <c:v>0.53039999999999998</c:v>
                </c:pt>
                <c:pt idx="180">
                  <c:v>0.53471000000000002</c:v>
                </c:pt>
                <c:pt idx="181">
                  <c:v>0.53903000000000001</c:v>
                </c:pt>
                <c:pt idx="182">
                  <c:v>0.543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267-42C6-AC42-927B0F02AEC7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Dokončené očkování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dLbls>
            <c:dLbl>
              <c:idx val="182"/>
              <c:layout/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F856-4821-BCF7-F85421DAACAA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C0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5:$A$187</c:f>
              <c:numCache>
                <c:formatCode>dd/mm/yy;@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C$5:$C$187</c:f>
              <c:numCache>
                <c:formatCode>0.00%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6.0000000000000002E-5</c:v>
                </c:pt>
                <c:pt idx="19">
                  <c:v>2.2000000000000001E-4</c:v>
                </c:pt>
                <c:pt idx="20">
                  <c:v>4.6999999999999999E-4</c:v>
                </c:pt>
                <c:pt idx="21">
                  <c:v>7.2000000000000005E-4</c:v>
                </c:pt>
                <c:pt idx="22">
                  <c:v>8.8000000000000003E-4</c:v>
                </c:pt>
                <c:pt idx="23">
                  <c:v>9.7000000000000005E-4</c:v>
                </c:pt>
                <c:pt idx="24">
                  <c:v>1.06E-3</c:v>
                </c:pt>
                <c:pt idx="25">
                  <c:v>1.14E-3</c:v>
                </c:pt>
                <c:pt idx="26">
                  <c:v>1.41E-3</c:v>
                </c:pt>
                <c:pt idx="27">
                  <c:v>1.7799999999999999E-3</c:v>
                </c:pt>
                <c:pt idx="28">
                  <c:v>2.2000000000000001E-3</c:v>
                </c:pt>
                <c:pt idx="29">
                  <c:v>2.7699999999999999E-3</c:v>
                </c:pt>
                <c:pt idx="30">
                  <c:v>3.5000000000000001E-3</c:v>
                </c:pt>
                <c:pt idx="31">
                  <c:v>3.5999999999999999E-3</c:v>
                </c:pt>
                <c:pt idx="32">
                  <c:v>3.7100000000000002E-3</c:v>
                </c:pt>
                <c:pt idx="33">
                  <c:v>4.4400000000000004E-3</c:v>
                </c:pt>
                <c:pt idx="34">
                  <c:v>5.3899999999999998E-3</c:v>
                </c:pt>
                <c:pt idx="35">
                  <c:v>6.4099999999999999E-3</c:v>
                </c:pt>
                <c:pt idx="36">
                  <c:v>7.62E-3</c:v>
                </c:pt>
                <c:pt idx="37">
                  <c:v>8.6099999999999996E-3</c:v>
                </c:pt>
                <c:pt idx="38">
                  <c:v>8.8299999999999993E-3</c:v>
                </c:pt>
                <c:pt idx="39">
                  <c:v>9.0600000000000003E-3</c:v>
                </c:pt>
                <c:pt idx="40">
                  <c:v>1.0120000000000001E-2</c:v>
                </c:pt>
                <c:pt idx="41">
                  <c:v>1.1220000000000001E-2</c:v>
                </c:pt>
                <c:pt idx="42">
                  <c:v>1.244E-2</c:v>
                </c:pt>
                <c:pt idx="43">
                  <c:v>1.3950000000000001E-2</c:v>
                </c:pt>
                <c:pt idx="44">
                  <c:v>1.5310000000000001E-2</c:v>
                </c:pt>
                <c:pt idx="45">
                  <c:v>1.559E-2</c:v>
                </c:pt>
                <c:pt idx="46">
                  <c:v>1.5709999999999998E-2</c:v>
                </c:pt>
                <c:pt idx="47">
                  <c:v>1.6580000000000001E-2</c:v>
                </c:pt>
                <c:pt idx="48">
                  <c:v>1.7420000000000001E-2</c:v>
                </c:pt>
                <c:pt idx="49">
                  <c:v>1.8190000000000001E-2</c:v>
                </c:pt>
                <c:pt idx="50">
                  <c:v>1.8929999999999999E-2</c:v>
                </c:pt>
                <c:pt idx="51">
                  <c:v>1.9609999999999999E-2</c:v>
                </c:pt>
                <c:pt idx="52">
                  <c:v>1.9709999999999998E-2</c:v>
                </c:pt>
                <c:pt idx="53">
                  <c:v>1.9810000000000001E-2</c:v>
                </c:pt>
                <c:pt idx="54">
                  <c:v>2.0369999999999999E-2</c:v>
                </c:pt>
                <c:pt idx="55">
                  <c:v>2.1010000000000001E-2</c:v>
                </c:pt>
                <c:pt idx="56">
                  <c:v>2.1569999999999999E-2</c:v>
                </c:pt>
                <c:pt idx="57">
                  <c:v>2.2089999999999999E-2</c:v>
                </c:pt>
                <c:pt idx="58">
                  <c:v>2.2579999999999999E-2</c:v>
                </c:pt>
                <c:pt idx="59">
                  <c:v>2.264E-2</c:v>
                </c:pt>
                <c:pt idx="60">
                  <c:v>2.2689999999999998E-2</c:v>
                </c:pt>
                <c:pt idx="61">
                  <c:v>2.3E-2</c:v>
                </c:pt>
                <c:pt idx="62">
                  <c:v>2.333E-2</c:v>
                </c:pt>
                <c:pt idx="63">
                  <c:v>2.375E-2</c:v>
                </c:pt>
                <c:pt idx="64">
                  <c:v>2.418E-2</c:v>
                </c:pt>
                <c:pt idx="65">
                  <c:v>2.4680000000000001E-2</c:v>
                </c:pt>
                <c:pt idx="66">
                  <c:v>2.4750000000000001E-2</c:v>
                </c:pt>
                <c:pt idx="67">
                  <c:v>2.4830000000000001E-2</c:v>
                </c:pt>
                <c:pt idx="68">
                  <c:v>2.528E-2</c:v>
                </c:pt>
                <c:pt idx="69">
                  <c:v>2.5870000000000001E-2</c:v>
                </c:pt>
                <c:pt idx="70">
                  <c:v>2.6509999999999999E-2</c:v>
                </c:pt>
                <c:pt idx="71">
                  <c:v>2.7289999999999998E-2</c:v>
                </c:pt>
                <c:pt idx="72">
                  <c:v>2.8070000000000001E-2</c:v>
                </c:pt>
                <c:pt idx="73">
                  <c:v>2.819E-2</c:v>
                </c:pt>
                <c:pt idx="74">
                  <c:v>2.8289999999999999E-2</c:v>
                </c:pt>
                <c:pt idx="75">
                  <c:v>2.9100000000000001E-2</c:v>
                </c:pt>
                <c:pt idx="76">
                  <c:v>3.0079999999999999E-2</c:v>
                </c:pt>
                <c:pt idx="77">
                  <c:v>3.1050000000000001E-2</c:v>
                </c:pt>
                <c:pt idx="78">
                  <c:v>3.2199999999999999E-2</c:v>
                </c:pt>
                <c:pt idx="79">
                  <c:v>3.347E-2</c:v>
                </c:pt>
                <c:pt idx="80">
                  <c:v>3.3649999999999999E-2</c:v>
                </c:pt>
                <c:pt idx="81">
                  <c:v>3.3799999999999997E-2</c:v>
                </c:pt>
                <c:pt idx="82">
                  <c:v>3.4950000000000002E-2</c:v>
                </c:pt>
                <c:pt idx="83">
                  <c:v>3.6179999999999997E-2</c:v>
                </c:pt>
                <c:pt idx="84">
                  <c:v>3.764E-2</c:v>
                </c:pt>
                <c:pt idx="85">
                  <c:v>3.9300000000000002E-2</c:v>
                </c:pt>
                <c:pt idx="86">
                  <c:v>4.0919999999999998E-2</c:v>
                </c:pt>
                <c:pt idx="87">
                  <c:v>4.1369999999999997E-2</c:v>
                </c:pt>
                <c:pt idx="88">
                  <c:v>4.1750000000000002E-2</c:v>
                </c:pt>
                <c:pt idx="89">
                  <c:v>4.367E-2</c:v>
                </c:pt>
                <c:pt idx="90">
                  <c:v>4.5719999999999997E-2</c:v>
                </c:pt>
                <c:pt idx="91">
                  <c:v>4.8230000000000002E-2</c:v>
                </c:pt>
                <c:pt idx="92">
                  <c:v>5.1189999999999999E-2</c:v>
                </c:pt>
                <c:pt idx="93">
                  <c:v>5.2380000000000003E-2</c:v>
                </c:pt>
                <c:pt idx="94">
                  <c:v>5.339E-2</c:v>
                </c:pt>
                <c:pt idx="95">
                  <c:v>5.4210000000000001E-2</c:v>
                </c:pt>
                <c:pt idx="96">
                  <c:v>5.4870000000000002E-2</c:v>
                </c:pt>
                <c:pt idx="97">
                  <c:v>5.7579999999999999E-2</c:v>
                </c:pt>
                <c:pt idx="98">
                  <c:v>5.9639999999999999E-2</c:v>
                </c:pt>
                <c:pt idx="99">
                  <c:v>6.2509999999999996E-2</c:v>
                </c:pt>
                <c:pt idx="100">
                  <c:v>6.5290000000000001E-2</c:v>
                </c:pt>
                <c:pt idx="101">
                  <c:v>6.6710000000000005E-2</c:v>
                </c:pt>
                <c:pt idx="102">
                  <c:v>6.7640000000000006E-2</c:v>
                </c:pt>
                <c:pt idx="103">
                  <c:v>6.9940000000000002E-2</c:v>
                </c:pt>
                <c:pt idx="104">
                  <c:v>7.2340000000000002E-2</c:v>
                </c:pt>
                <c:pt idx="105">
                  <c:v>7.4880000000000002E-2</c:v>
                </c:pt>
                <c:pt idx="106">
                  <c:v>7.7259999999999995E-2</c:v>
                </c:pt>
                <c:pt idx="107">
                  <c:v>7.9640000000000002E-2</c:v>
                </c:pt>
                <c:pt idx="108">
                  <c:v>8.0479999999999996E-2</c:v>
                </c:pt>
                <c:pt idx="109">
                  <c:v>8.0939999999999998E-2</c:v>
                </c:pt>
                <c:pt idx="110">
                  <c:v>8.2360000000000003E-2</c:v>
                </c:pt>
                <c:pt idx="111">
                  <c:v>8.3830000000000002E-2</c:v>
                </c:pt>
                <c:pt idx="112">
                  <c:v>8.5139999999999993E-2</c:v>
                </c:pt>
                <c:pt idx="113">
                  <c:v>8.6749999999999994E-2</c:v>
                </c:pt>
                <c:pt idx="114">
                  <c:v>8.7859999999999994E-2</c:v>
                </c:pt>
                <c:pt idx="115">
                  <c:v>8.8340000000000002E-2</c:v>
                </c:pt>
                <c:pt idx="116">
                  <c:v>8.8709999999999997E-2</c:v>
                </c:pt>
                <c:pt idx="117">
                  <c:v>8.9410000000000003E-2</c:v>
                </c:pt>
                <c:pt idx="118">
                  <c:v>9.0529999999999999E-2</c:v>
                </c:pt>
                <c:pt idx="119">
                  <c:v>9.1819999999999999E-2</c:v>
                </c:pt>
                <c:pt idx="120">
                  <c:v>9.3280000000000002E-2</c:v>
                </c:pt>
                <c:pt idx="121">
                  <c:v>9.4189999999999996E-2</c:v>
                </c:pt>
                <c:pt idx="122">
                  <c:v>9.4500000000000001E-2</c:v>
                </c:pt>
                <c:pt idx="123">
                  <c:v>9.4700000000000006E-2</c:v>
                </c:pt>
                <c:pt idx="124">
                  <c:v>9.5159999999999995E-2</c:v>
                </c:pt>
                <c:pt idx="125">
                  <c:v>9.5920000000000005E-2</c:v>
                </c:pt>
                <c:pt idx="126">
                  <c:v>9.6780000000000005E-2</c:v>
                </c:pt>
                <c:pt idx="127">
                  <c:v>9.7750000000000004E-2</c:v>
                </c:pt>
                <c:pt idx="128">
                  <c:v>9.8650000000000002E-2</c:v>
                </c:pt>
                <c:pt idx="129">
                  <c:v>9.8809999999999995E-2</c:v>
                </c:pt>
                <c:pt idx="130">
                  <c:v>9.8909999999999998E-2</c:v>
                </c:pt>
                <c:pt idx="131">
                  <c:v>9.9559999999999996E-2</c:v>
                </c:pt>
                <c:pt idx="132">
                  <c:v>0.10183</c:v>
                </c:pt>
                <c:pt idx="133">
                  <c:v>0.10399</c:v>
                </c:pt>
                <c:pt idx="134">
                  <c:v>0.10645</c:v>
                </c:pt>
                <c:pt idx="135">
                  <c:v>0.10755000000000001</c:v>
                </c:pt>
                <c:pt idx="136">
                  <c:v>0.10838</c:v>
                </c:pt>
                <c:pt idx="137">
                  <c:v>0.10911</c:v>
                </c:pt>
                <c:pt idx="138">
                  <c:v>0.10988000000000001</c:v>
                </c:pt>
                <c:pt idx="139">
                  <c:v>0.11168</c:v>
                </c:pt>
                <c:pt idx="140">
                  <c:v>0.11376</c:v>
                </c:pt>
                <c:pt idx="141">
                  <c:v>0.11693000000000001</c:v>
                </c:pt>
                <c:pt idx="142">
                  <c:v>0.12013</c:v>
                </c:pt>
                <c:pt idx="143">
                  <c:v>0.12175999999999999</c:v>
                </c:pt>
                <c:pt idx="144">
                  <c:v>0.12300999999999999</c:v>
                </c:pt>
                <c:pt idx="145">
                  <c:v>0.12611</c:v>
                </c:pt>
                <c:pt idx="146">
                  <c:v>0.12906999999999999</c:v>
                </c:pt>
                <c:pt idx="147">
                  <c:v>0.13224</c:v>
                </c:pt>
                <c:pt idx="148">
                  <c:v>0.13647000000000001</c:v>
                </c:pt>
                <c:pt idx="149">
                  <c:v>0.14044000000000001</c:v>
                </c:pt>
                <c:pt idx="150">
                  <c:v>0.14212</c:v>
                </c:pt>
                <c:pt idx="151">
                  <c:v>0.14338000000000001</c:v>
                </c:pt>
                <c:pt idx="152">
                  <c:v>0.14732999999999999</c:v>
                </c:pt>
                <c:pt idx="153">
                  <c:v>0.15343000000000001</c:v>
                </c:pt>
                <c:pt idx="154">
                  <c:v>0.16</c:v>
                </c:pt>
                <c:pt idx="155">
                  <c:v>0.16711000000000001</c:v>
                </c:pt>
                <c:pt idx="156">
                  <c:v>0.17385999999999999</c:v>
                </c:pt>
                <c:pt idx="157">
                  <c:v>0.17780000000000001</c:v>
                </c:pt>
                <c:pt idx="158">
                  <c:v>0.18146999999999999</c:v>
                </c:pt>
                <c:pt idx="159">
                  <c:v>0.18815999999999999</c:v>
                </c:pt>
                <c:pt idx="160">
                  <c:v>0.19495999999999999</c:v>
                </c:pt>
                <c:pt idx="161">
                  <c:v>0.20261000000000001</c:v>
                </c:pt>
                <c:pt idx="162">
                  <c:v>0.21098</c:v>
                </c:pt>
                <c:pt idx="163">
                  <c:v>0.21933</c:v>
                </c:pt>
                <c:pt idx="164">
                  <c:v>0.22331000000000001</c:v>
                </c:pt>
                <c:pt idx="165">
                  <c:v>0.22706999999999999</c:v>
                </c:pt>
                <c:pt idx="166">
                  <c:v>0.23558000000000001</c:v>
                </c:pt>
                <c:pt idx="167">
                  <c:v>0.24393000000000001</c:v>
                </c:pt>
                <c:pt idx="168">
                  <c:v>0.25274999999999997</c:v>
                </c:pt>
                <c:pt idx="169">
                  <c:v>0.26216</c:v>
                </c:pt>
                <c:pt idx="170">
                  <c:v>0.27141999999999999</c:v>
                </c:pt>
                <c:pt idx="171">
                  <c:v>0.27626000000000001</c:v>
                </c:pt>
                <c:pt idx="172">
                  <c:v>0.28047</c:v>
                </c:pt>
                <c:pt idx="173">
                  <c:v>0.28894999999999998</c:v>
                </c:pt>
                <c:pt idx="174">
                  <c:v>0.30052000000000001</c:v>
                </c:pt>
                <c:pt idx="175">
                  <c:v>0.31213000000000002</c:v>
                </c:pt>
                <c:pt idx="176">
                  <c:v>0.32371</c:v>
                </c:pt>
                <c:pt idx="177">
                  <c:v>0.33512999999999998</c:v>
                </c:pt>
                <c:pt idx="178">
                  <c:v>0.34610000000000002</c:v>
                </c:pt>
                <c:pt idx="179">
                  <c:v>0.35700999999999999</c:v>
                </c:pt>
                <c:pt idx="180">
                  <c:v>0.36824000000000001</c:v>
                </c:pt>
                <c:pt idx="181">
                  <c:v>0.37963000000000002</c:v>
                </c:pt>
                <c:pt idx="182">
                  <c:v>0.39063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267-42C6-AC42-927B0F02AEC7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 </c:v>
                </c:pt>
              </c:strCache>
            </c:strRef>
          </c:tx>
          <c:spPr>
            <a:ln w="952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dd/mm/yy;@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D$5:$D$187</c:f>
              <c:numCache>
                <c:formatCode>General</c:formatCode>
                <c:ptCount val="183"/>
                <c:pt idx="0">
                  <c:v>9.7806200000000003E-4</c:v>
                </c:pt>
                <c:pt idx="1">
                  <c:v>1.0999110000000001E-3</c:v>
                </c:pt>
                <c:pt idx="2">
                  <c:v>1.124299E-3</c:v>
                </c:pt>
                <c:pt idx="3">
                  <c:v>1.242691E-3</c:v>
                </c:pt>
                <c:pt idx="4">
                  <c:v>1.3281910000000001E-3</c:v>
                </c:pt>
                <c:pt idx="5">
                  <c:v>1.6621540000000001E-3</c:v>
                </c:pt>
                <c:pt idx="6">
                  <c:v>2.081804E-3</c:v>
                </c:pt>
                <c:pt idx="7">
                  <c:v>2.6253579999999999E-3</c:v>
                </c:pt>
                <c:pt idx="8">
                  <c:v>3.3674780000000001E-3</c:v>
                </c:pt>
                <c:pt idx="9">
                  <c:v>4.2956419999999997E-3</c:v>
                </c:pt>
                <c:pt idx="10">
                  <c:v>4.4837410000000003E-3</c:v>
                </c:pt>
                <c:pt idx="11">
                  <c:v>4.6473590000000002E-3</c:v>
                </c:pt>
                <c:pt idx="12">
                  <c:v>5.5625340000000001E-3</c:v>
                </c:pt>
                <c:pt idx="13">
                  <c:v>6.8105509999999998E-3</c:v>
                </c:pt>
                <c:pt idx="14">
                  <c:v>8.0698750000000007E-3</c:v>
                </c:pt>
                <c:pt idx="15">
                  <c:v>9.4862750000000006E-3</c:v>
                </c:pt>
                <c:pt idx="16">
                  <c:v>1.0788956000000001E-2</c:v>
                </c:pt>
                <c:pt idx="17">
                  <c:v>1.1104044E-2</c:v>
                </c:pt>
                <c:pt idx="18">
                  <c:v>1.1346714000000001E-2</c:v>
                </c:pt>
                <c:pt idx="19">
                  <c:v>1.2509978E-2</c:v>
                </c:pt>
                <c:pt idx="20">
                  <c:v>1.3678569E-2</c:v>
                </c:pt>
                <c:pt idx="21">
                  <c:v>1.4950321000000001E-2</c:v>
                </c:pt>
                <c:pt idx="22">
                  <c:v>1.6403818000000001E-2</c:v>
                </c:pt>
                <c:pt idx="23">
                  <c:v>1.7786485000000001E-2</c:v>
                </c:pt>
                <c:pt idx="24">
                  <c:v>1.8092883000000001E-2</c:v>
                </c:pt>
                <c:pt idx="25">
                  <c:v>1.8302661000000001E-2</c:v>
                </c:pt>
                <c:pt idx="26">
                  <c:v>1.9199335000000001E-2</c:v>
                </c:pt>
                <c:pt idx="27">
                  <c:v>2.017992E-2</c:v>
                </c:pt>
                <c:pt idx="28">
                  <c:v>2.1019686999999999E-2</c:v>
                </c:pt>
                <c:pt idx="29">
                  <c:v>2.1676587000000001E-2</c:v>
                </c:pt>
                <c:pt idx="30">
                  <c:v>2.2253687000000001E-2</c:v>
                </c:pt>
                <c:pt idx="31">
                  <c:v>2.2320778999999999E-2</c:v>
                </c:pt>
                <c:pt idx="32">
                  <c:v>2.2386375999999999E-2</c:v>
                </c:pt>
                <c:pt idx="33">
                  <c:v>2.2755193E-2</c:v>
                </c:pt>
                <c:pt idx="34">
                  <c:v>2.3139895000000001E-2</c:v>
                </c:pt>
                <c:pt idx="35">
                  <c:v>2.354964E-2</c:v>
                </c:pt>
                <c:pt idx="36">
                  <c:v>2.400592E-2</c:v>
                </c:pt>
                <c:pt idx="37">
                  <c:v>2.4514246999999999E-2</c:v>
                </c:pt>
                <c:pt idx="38">
                  <c:v>2.4592363999999999E-2</c:v>
                </c:pt>
                <c:pt idx="39">
                  <c:v>2.4671510000000001E-2</c:v>
                </c:pt>
                <c:pt idx="40">
                  <c:v>2.5048737000000001E-2</c:v>
                </c:pt>
                <c:pt idx="41">
                  <c:v>2.5526508E-2</c:v>
                </c:pt>
                <c:pt idx="42">
                  <c:v>2.6039039999999999E-2</c:v>
                </c:pt>
                <c:pt idx="43">
                  <c:v>2.6628381E-2</c:v>
                </c:pt>
                <c:pt idx="44">
                  <c:v>2.7256128000000001E-2</c:v>
                </c:pt>
                <c:pt idx="45">
                  <c:v>2.7404421000000002E-2</c:v>
                </c:pt>
                <c:pt idx="46">
                  <c:v>2.7496742000000001E-2</c:v>
                </c:pt>
                <c:pt idx="47">
                  <c:v>2.8089540999999999E-2</c:v>
                </c:pt>
                <c:pt idx="48">
                  <c:v>2.8901554999999999E-2</c:v>
                </c:pt>
                <c:pt idx="49">
                  <c:v>2.9804770000000001E-2</c:v>
                </c:pt>
                <c:pt idx="50">
                  <c:v>3.0950841E-2</c:v>
                </c:pt>
                <c:pt idx="51">
                  <c:v>3.2051780000000002E-2</c:v>
                </c:pt>
                <c:pt idx="52">
                  <c:v>3.2232311E-2</c:v>
                </c:pt>
                <c:pt idx="53">
                  <c:v>3.2327808999999999E-2</c:v>
                </c:pt>
                <c:pt idx="54">
                  <c:v>3.3269615000000002E-2</c:v>
                </c:pt>
                <c:pt idx="55">
                  <c:v>3.4471097999999999E-2</c:v>
                </c:pt>
                <c:pt idx="56">
                  <c:v>3.5760228999999998E-2</c:v>
                </c:pt>
                <c:pt idx="57">
                  <c:v>3.7434624E-2</c:v>
                </c:pt>
                <c:pt idx="58">
                  <c:v>3.8937178000000003E-2</c:v>
                </c:pt>
                <c:pt idx="59">
                  <c:v>3.9211337999999998E-2</c:v>
                </c:pt>
                <c:pt idx="60">
                  <c:v>3.9430367000000001E-2</c:v>
                </c:pt>
                <c:pt idx="61">
                  <c:v>4.1236236000000002E-2</c:v>
                </c:pt>
                <c:pt idx="62">
                  <c:v>4.3765535000000001E-2</c:v>
                </c:pt>
                <c:pt idx="63">
                  <c:v>4.6619734000000003E-2</c:v>
                </c:pt>
                <c:pt idx="64">
                  <c:v>4.9706418000000002E-2</c:v>
                </c:pt>
                <c:pt idx="65">
                  <c:v>5.2376348000000003E-2</c:v>
                </c:pt>
                <c:pt idx="66">
                  <c:v>5.3495789000000002E-2</c:v>
                </c:pt>
                <c:pt idx="67">
                  <c:v>5.4554678000000002E-2</c:v>
                </c:pt>
                <c:pt idx="68">
                  <c:v>5.7312257999999998E-2</c:v>
                </c:pt>
                <c:pt idx="69">
                  <c:v>6.0677867000000003E-2</c:v>
                </c:pt>
                <c:pt idx="70">
                  <c:v>6.4499475000000001E-2</c:v>
                </c:pt>
                <c:pt idx="71">
                  <c:v>6.8649160000000001E-2</c:v>
                </c:pt>
                <c:pt idx="72">
                  <c:v>7.2240058999999995E-2</c:v>
                </c:pt>
                <c:pt idx="73">
                  <c:v>7.3826243999999999E-2</c:v>
                </c:pt>
                <c:pt idx="74">
                  <c:v>7.4949795999999999E-2</c:v>
                </c:pt>
                <c:pt idx="75">
                  <c:v>7.7581133999999996E-2</c:v>
                </c:pt>
                <c:pt idx="76">
                  <c:v>8.1188853000000005E-2</c:v>
                </c:pt>
                <c:pt idx="77">
                  <c:v>8.4664723999999997E-2</c:v>
                </c:pt>
                <c:pt idx="78">
                  <c:v>8.8177411999999997E-2</c:v>
                </c:pt>
                <c:pt idx="79">
                  <c:v>9.1360714999999995E-2</c:v>
                </c:pt>
                <c:pt idx="80">
                  <c:v>9.2759642000000003E-2</c:v>
                </c:pt>
                <c:pt idx="81">
                  <c:v>9.3445789000000001E-2</c:v>
                </c:pt>
                <c:pt idx="82">
                  <c:v>9.5698499000000006E-2</c:v>
                </c:pt>
                <c:pt idx="83">
                  <c:v>9.8153511999999998E-2</c:v>
                </c:pt>
                <c:pt idx="84">
                  <c:v>0.100634502</c:v>
                </c:pt>
                <c:pt idx="85">
                  <c:v>0.10307064000000001</c:v>
                </c:pt>
                <c:pt idx="86">
                  <c:v>0.105362689</c:v>
                </c:pt>
                <c:pt idx="87">
                  <c:v>0.106147699</c:v>
                </c:pt>
                <c:pt idx="88">
                  <c:v>0.106659109</c:v>
                </c:pt>
                <c:pt idx="89">
                  <c:v>0.10841545299999999</c:v>
                </c:pt>
                <c:pt idx="90">
                  <c:v>0.11070021400000001</c:v>
                </c:pt>
                <c:pt idx="91">
                  <c:v>0.112846212</c:v>
                </c:pt>
                <c:pt idx="92">
                  <c:v>0.115218155</c:v>
                </c:pt>
                <c:pt idx="93">
                  <c:v>0.115848517</c:v>
                </c:pt>
                <c:pt idx="94">
                  <c:v>0.11617780900000001</c:v>
                </c:pt>
                <c:pt idx="95">
                  <c:v>0.116407864</c:v>
                </c:pt>
                <c:pt idx="96">
                  <c:v>0.116623903</c:v>
                </c:pt>
                <c:pt idx="97">
                  <c:v>0.118122906</c:v>
                </c:pt>
                <c:pt idx="98">
                  <c:v>0.120290957</c:v>
                </c:pt>
                <c:pt idx="99">
                  <c:v>0.123846161</c:v>
                </c:pt>
                <c:pt idx="100">
                  <c:v>0.12746200899999999</c:v>
                </c:pt>
                <c:pt idx="101">
                  <c:v>0.128889156</c:v>
                </c:pt>
                <c:pt idx="102">
                  <c:v>0.12979386500000001</c:v>
                </c:pt>
                <c:pt idx="103">
                  <c:v>0.133321036</c:v>
                </c:pt>
                <c:pt idx="104">
                  <c:v>0.13666478000000001</c:v>
                </c:pt>
                <c:pt idx="105">
                  <c:v>0.14025642699999999</c:v>
                </c:pt>
                <c:pt idx="106">
                  <c:v>0.144686439</c:v>
                </c:pt>
                <c:pt idx="107">
                  <c:v>0.148817808</c:v>
                </c:pt>
                <c:pt idx="108">
                  <c:v>0.15036175800000001</c:v>
                </c:pt>
                <c:pt idx="109">
                  <c:v>0.15154184200000001</c:v>
                </c:pt>
                <c:pt idx="110">
                  <c:v>0.15560724200000001</c:v>
                </c:pt>
                <c:pt idx="111">
                  <c:v>0.159518088</c:v>
                </c:pt>
                <c:pt idx="112">
                  <c:v>0.16393744699999999</c:v>
                </c:pt>
                <c:pt idx="113">
                  <c:v>0.168975769</c:v>
                </c:pt>
                <c:pt idx="114">
                  <c:v>0.17359808600000001</c:v>
                </c:pt>
                <c:pt idx="115">
                  <c:v>0.17524089700000001</c:v>
                </c:pt>
                <c:pt idx="116">
                  <c:v>0.17659412999999999</c:v>
                </c:pt>
                <c:pt idx="117">
                  <c:v>0.18117393000000001</c:v>
                </c:pt>
                <c:pt idx="118">
                  <c:v>0.18569981399999999</c:v>
                </c:pt>
                <c:pt idx="119">
                  <c:v>0.19114741399999999</c:v>
                </c:pt>
                <c:pt idx="120">
                  <c:v>0.197204726</c:v>
                </c:pt>
                <c:pt idx="121">
                  <c:v>0.20295582700000001</c:v>
                </c:pt>
                <c:pt idx="122">
                  <c:v>0.20474440799999999</c:v>
                </c:pt>
                <c:pt idx="123">
                  <c:v>0.20649710800000001</c:v>
                </c:pt>
                <c:pt idx="124">
                  <c:v>0.21272448499999999</c:v>
                </c:pt>
                <c:pt idx="125">
                  <c:v>0.21886355900000001</c:v>
                </c:pt>
                <c:pt idx="126">
                  <c:v>0.225633369</c:v>
                </c:pt>
                <c:pt idx="127">
                  <c:v>0.23306475199999999</c:v>
                </c:pt>
                <c:pt idx="128">
                  <c:v>0.240221974</c:v>
                </c:pt>
                <c:pt idx="129">
                  <c:v>0.24295086699999999</c:v>
                </c:pt>
                <c:pt idx="130">
                  <c:v>0.24519507400000001</c:v>
                </c:pt>
                <c:pt idx="131">
                  <c:v>0.25191769600000002</c:v>
                </c:pt>
                <c:pt idx="132">
                  <c:v>0.25895447100000002</c:v>
                </c:pt>
                <c:pt idx="133">
                  <c:v>0.26634380400000002</c:v>
                </c:pt>
                <c:pt idx="134">
                  <c:v>0.27411896200000002</c:v>
                </c:pt>
                <c:pt idx="135">
                  <c:v>0.28145671500000002</c:v>
                </c:pt>
                <c:pt idx="136">
                  <c:v>0.28441014999999997</c:v>
                </c:pt>
                <c:pt idx="137">
                  <c:v>0.28680442499999997</c:v>
                </c:pt>
                <c:pt idx="138">
                  <c:v>0.29352209499999998</c:v>
                </c:pt>
                <c:pt idx="139">
                  <c:v>0.30018715600000001</c:v>
                </c:pt>
                <c:pt idx="140">
                  <c:v>0.30734951799999999</c:v>
                </c:pt>
                <c:pt idx="141">
                  <c:v>0.314320883</c:v>
                </c:pt>
                <c:pt idx="142">
                  <c:v>0.32068375199999999</c:v>
                </c:pt>
                <c:pt idx="143">
                  <c:v>0.32366549999999999</c:v>
                </c:pt>
                <c:pt idx="144">
                  <c:v>0.32573244600000001</c:v>
                </c:pt>
                <c:pt idx="145">
                  <c:v>0.33008452700000002</c:v>
                </c:pt>
                <c:pt idx="146">
                  <c:v>0.33488045999999999</c:v>
                </c:pt>
                <c:pt idx="147">
                  <c:v>0.34111783499999998</c:v>
                </c:pt>
                <c:pt idx="148">
                  <c:v>0.346673548</c:v>
                </c:pt>
                <c:pt idx="149">
                  <c:v>0.35220178899999999</c:v>
                </c:pt>
                <c:pt idx="150">
                  <c:v>0.35478958300000002</c:v>
                </c:pt>
                <c:pt idx="151">
                  <c:v>0.35674524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621-4576-B977-886709C89CDD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  </c:v>
                </c:pt>
              </c:strCache>
            </c:strRef>
          </c:tx>
          <c:spPr>
            <a:ln w="952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dd/mm/yy;@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E$5:$E$187</c:f>
              <c:numCache>
                <c:formatCode>General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 formatCode="0.00E+00">
                  <c:v>1.86885E-7</c:v>
                </c:pt>
                <c:pt idx="18" formatCode="0.00E+00">
                  <c:v>5.9335900000000002E-5</c:v>
                </c:pt>
                <c:pt idx="19">
                  <c:v>2.2846699999999999E-4</c:v>
                </c:pt>
                <c:pt idx="20">
                  <c:v>4.8066800000000001E-4</c:v>
                </c:pt>
                <c:pt idx="21">
                  <c:v>7.2623499999999999E-4</c:v>
                </c:pt>
                <c:pt idx="22">
                  <c:v>8.8695600000000005E-4</c:v>
                </c:pt>
                <c:pt idx="23">
                  <c:v>9.8366800000000004E-4</c:v>
                </c:pt>
                <c:pt idx="24">
                  <c:v>1.06459E-3</c:v>
                </c:pt>
                <c:pt idx="25">
                  <c:v>1.1452299999999999E-3</c:v>
                </c:pt>
                <c:pt idx="26">
                  <c:v>1.421072E-3</c:v>
                </c:pt>
                <c:pt idx="27">
                  <c:v>1.7907310000000001E-3</c:v>
                </c:pt>
                <c:pt idx="28">
                  <c:v>2.210661E-3</c:v>
                </c:pt>
                <c:pt idx="29">
                  <c:v>2.7794450000000002E-3</c:v>
                </c:pt>
                <c:pt idx="30">
                  <c:v>3.5093239999999999E-3</c:v>
                </c:pt>
                <c:pt idx="31">
                  <c:v>3.6104280000000002E-3</c:v>
                </c:pt>
                <c:pt idx="32">
                  <c:v>3.7199429999999999E-3</c:v>
                </c:pt>
                <c:pt idx="33">
                  <c:v>4.4565500000000001E-3</c:v>
                </c:pt>
                <c:pt idx="34">
                  <c:v>5.4062980000000004E-3</c:v>
                </c:pt>
                <c:pt idx="35">
                  <c:v>6.4295860000000002E-3</c:v>
                </c:pt>
                <c:pt idx="36">
                  <c:v>7.6359280000000002E-3</c:v>
                </c:pt>
                <c:pt idx="37">
                  <c:v>8.6282870000000001E-3</c:v>
                </c:pt>
                <c:pt idx="38">
                  <c:v>8.8466619999999999E-3</c:v>
                </c:pt>
                <c:pt idx="39">
                  <c:v>9.078025E-3</c:v>
                </c:pt>
                <c:pt idx="40">
                  <c:v>1.013841E-2</c:v>
                </c:pt>
                <c:pt idx="41">
                  <c:v>1.1249907E-2</c:v>
                </c:pt>
                <c:pt idx="42">
                  <c:v>1.2480731E-2</c:v>
                </c:pt>
                <c:pt idx="43">
                  <c:v>1.3986182E-2</c:v>
                </c:pt>
                <c:pt idx="44">
                  <c:v>1.5353899000000001E-2</c:v>
                </c:pt>
                <c:pt idx="45">
                  <c:v>1.5631516000000002E-2</c:v>
                </c:pt>
                <c:pt idx="46">
                  <c:v>1.5759345000000001E-2</c:v>
                </c:pt>
                <c:pt idx="47">
                  <c:v>1.6628826999999999E-2</c:v>
                </c:pt>
                <c:pt idx="48">
                  <c:v>1.7471117000000001E-2</c:v>
                </c:pt>
                <c:pt idx="49">
                  <c:v>1.8241456999999999E-2</c:v>
                </c:pt>
                <c:pt idx="50">
                  <c:v>1.8987407000000001E-2</c:v>
                </c:pt>
                <c:pt idx="51">
                  <c:v>1.9668509000000001E-2</c:v>
                </c:pt>
                <c:pt idx="52">
                  <c:v>1.9777183E-2</c:v>
                </c:pt>
                <c:pt idx="53">
                  <c:v>1.9871185999999999E-2</c:v>
                </c:pt>
                <c:pt idx="54">
                  <c:v>2.0430719E-2</c:v>
                </c:pt>
                <c:pt idx="55">
                  <c:v>2.1078461999999999E-2</c:v>
                </c:pt>
                <c:pt idx="56">
                  <c:v>2.1638462000000001E-2</c:v>
                </c:pt>
                <c:pt idx="57">
                  <c:v>2.2153517000000001E-2</c:v>
                </c:pt>
                <c:pt idx="58">
                  <c:v>2.2649977000000002E-2</c:v>
                </c:pt>
                <c:pt idx="59">
                  <c:v>2.2701183E-2</c:v>
                </c:pt>
                <c:pt idx="60">
                  <c:v>2.2752296000000002E-2</c:v>
                </c:pt>
                <c:pt idx="61">
                  <c:v>2.3068786000000001E-2</c:v>
                </c:pt>
                <c:pt idx="62">
                  <c:v>2.3397983000000001E-2</c:v>
                </c:pt>
                <c:pt idx="63">
                  <c:v>2.3815764E-2</c:v>
                </c:pt>
                <c:pt idx="64">
                  <c:v>2.4250085000000001E-2</c:v>
                </c:pt>
                <c:pt idx="65">
                  <c:v>2.4750748999999999E-2</c:v>
                </c:pt>
                <c:pt idx="66">
                  <c:v>2.4828867000000001E-2</c:v>
                </c:pt>
                <c:pt idx="67">
                  <c:v>2.4906238000000001E-2</c:v>
                </c:pt>
                <c:pt idx="68">
                  <c:v>2.5355696E-2</c:v>
                </c:pt>
                <c:pt idx="69">
                  <c:v>2.5947372999999999E-2</c:v>
                </c:pt>
                <c:pt idx="70">
                  <c:v>2.6592966999999999E-2</c:v>
                </c:pt>
                <c:pt idx="71">
                  <c:v>2.7369660000000001E-2</c:v>
                </c:pt>
                <c:pt idx="72">
                  <c:v>2.8154390000000001E-2</c:v>
                </c:pt>
                <c:pt idx="73">
                  <c:v>2.8274276000000001E-2</c:v>
                </c:pt>
                <c:pt idx="74">
                  <c:v>2.8379491999999999E-2</c:v>
                </c:pt>
                <c:pt idx="75">
                  <c:v>2.9196366000000001E-2</c:v>
                </c:pt>
                <c:pt idx="76">
                  <c:v>3.0173867E-2</c:v>
                </c:pt>
                <c:pt idx="77">
                  <c:v>3.1149779999999998E-2</c:v>
                </c:pt>
                <c:pt idx="78">
                  <c:v>3.2304168000000001E-2</c:v>
                </c:pt>
                <c:pt idx="79">
                  <c:v>3.3568444000000003E-2</c:v>
                </c:pt>
                <c:pt idx="80">
                  <c:v>3.3755888999999997E-2</c:v>
                </c:pt>
                <c:pt idx="81">
                  <c:v>3.3898855999999998E-2</c:v>
                </c:pt>
                <c:pt idx="82">
                  <c:v>3.5055860000000001E-2</c:v>
                </c:pt>
                <c:pt idx="83">
                  <c:v>3.6293131999999999E-2</c:v>
                </c:pt>
                <c:pt idx="84">
                  <c:v>3.7753637E-2</c:v>
                </c:pt>
                <c:pt idx="85">
                  <c:v>3.9415697E-2</c:v>
                </c:pt>
                <c:pt idx="86">
                  <c:v>4.1042623E-2</c:v>
                </c:pt>
                <c:pt idx="87">
                  <c:v>4.1491988E-2</c:v>
                </c:pt>
                <c:pt idx="88">
                  <c:v>4.1876035999999998E-2</c:v>
                </c:pt>
                <c:pt idx="89">
                  <c:v>4.3799362000000001E-2</c:v>
                </c:pt>
                <c:pt idx="90">
                  <c:v>4.5860700999999997E-2</c:v>
                </c:pt>
                <c:pt idx="91">
                  <c:v>4.8378039999999997E-2</c:v>
                </c:pt>
                <c:pt idx="92">
                  <c:v>5.1354181999999998E-2</c:v>
                </c:pt>
                <c:pt idx="93">
                  <c:v>5.2541273999999999E-2</c:v>
                </c:pt>
                <c:pt idx="94">
                  <c:v>5.3557554E-2</c:v>
                </c:pt>
                <c:pt idx="95">
                  <c:v>5.4373493000000002E-2</c:v>
                </c:pt>
                <c:pt idx="96">
                  <c:v>5.5040765999999998E-2</c:v>
                </c:pt>
                <c:pt idx="97">
                  <c:v>5.7763398000000001E-2</c:v>
                </c:pt>
                <c:pt idx="98">
                  <c:v>5.9823055999999999E-2</c:v>
                </c:pt>
                <c:pt idx="99">
                  <c:v>6.2700521999999995E-2</c:v>
                </c:pt>
                <c:pt idx="100">
                  <c:v>6.5493234999999997E-2</c:v>
                </c:pt>
                <c:pt idx="101">
                  <c:v>6.6912439000000004E-2</c:v>
                </c:pt>
                <c:pt idx="102">
                  <c:v>6.7845087999999998E-2</c:v>
                </c:pt>
                <c:pt idx="103">
                  <c:v>7.0160871E-2</c:v>
                </c:pt>
                <c:pt idx="104">
                  <c:v>7.2571593000000004E-2</c:v>
                </c:pt>
                <c:pt idx="105">
                  <c:v>7.5117150999999993E-2</c:v>
                </c:pt>
                <c:pt idx="106">
                  <c:v>7.7505446000000006E-2</c:v>
                </c:pt>
                <c:pt idx="107">
                  <c:v>7.9891031000000001E-2</c:v>
                </c:pt>
                <c:pt idx="108">
                  <c:v>8.0730144000000004E-2</c:v>
                </c:pt>
                <c:pt idx="109">
                  <c:v>8.1191843E-2</c:v>
                </c:pt>
                <c:pt idx="110">
                  <c:v>8.2622914000000006E-2</c:v>
                </c:pt>
                <c:pt idx="111">
                  <c:v>8.4093510999999996E-2</c:v>
                </c:pt>
                <c:pt idx="112">
                  <c:v>8.5411141999999995E-2</c:v>
                </c:pt>
                <c:pt idx="113">
                  <c:v>8.7025454000000002E-2</c:v>
                </c:pt>
                <c:pt idx="114">
                  <c:v>8.8141810000000001E-2</c:v>
                </c:pt>
                <c:pt idx="115">
                  <c:v>8.8626590000000005E-2</c:v>
                </c:pt>
                <c:pt idx="116">
                  <c:v>8.8997743000000004E-2</c:v>
                </c:pt>
                <c:pt idx="117">
                  <c:v>8.9684170999999993E-2</c:v>
                </c:pt>
                <c:pt idx="118">
                  <c:v>9.0816226E-2</c:v>
                </c:pt>
                <c:pt idx="119">
                  <c:v>9.2113581E-2</c:v>
                </c:pt>
                <c:pt idx="120">
                  <c:v>9.3579131999999995E-2</c:v>
                </c:pt>
                <c:pt idx="121">
                  <c:v>9.4497109999999995E-2</c:v>
                </c:pt>
                <c:pt idx="122">
                  <c:v>9.4808459999999997E-2</c:v>
                </c:pt>
                <c:pt idx="123">
                  <c:v>9.5015621999999994E-2</c:v>
                </c:pt>
                <c:pt idx="124">
                  <c:v>9.5481152E-2</c:v>
                </c:pt>
                <c:pt idx="125">
                  <c:v>9.6249997000000004E-2</c:v>
                </c:pt>
                <c:pt idx="126">
                  <c:v>9.7116861999999998E-2</c:v>
                </c:pt>
                <c:pt idx="127">
                  <c:v>9.8101745000000004E-2</c:v>
                </c:pt>
                <c:pt idx="128">
                  <c:v>9.9027666E-2</c:v>
                </c:pt>
                <c:pt idx="129">
                  <c:v>9.9185771000000006E-2</c:v>
                </c:pt>
                <c:pt idx="130">
                  <c:v>9.9294630999999994E-2</c:v>
                </c:pt>
                <c:pt idx="131">
                  <c:v>9.9956670999999997E-2</c:v>
                </c:pt>
                <c:pt idx="132">
                  <c:v>0.10077046100000001</c:v>
                </c:pt>
                <c:pt idx="133">
                  <c:v>0.1016035</c:v>
                </c:pt>
                <c:pt idx="134">
                  <c:v>0.102448126</c:v>
                </c:pt>
                <c:pt idx="135">
                  <c:v>0.10316025099999999</c:v>
                </c:pt>
                <c:pt idx="136">
                  <c:v>0.10335965699999999</c:v>
                </c:pt>
                <c:pt idx="137">
                  <c:v>0.10346907800000001</c:v>
                </c:pt>
                <c:pt idx="138">
                  <c:v>0.10408701300000001</c:v>
                </c:pt>
                <c:pt idx="139">
                  <c:v>0.105289337</c:v>
                </c:pt>
                <c:pt idx="140">
                  <c:v>0.106691814</c:v>
                </c:pt>
                <c:pt idx="141">
                  <c:v>0.109177569</c:v>
                </c:pt>
                <c:pt idx="142">
                  <c:v>0.111743498</c:v>
                </c:pt>
                <c:pt idx="143">
                  <c:v>0.11277286</c:v>
                </c:pt>
                <c:pt idx="144">
                  <c:v>0.113605993</c:v>
                </c:pt>
                <c:pt idx="145">
                  <c:v>0.11670800100000001</c:v>
                </c:pt>
                <c:pt idx="146">
                  <c:v>0.119997455</c:v>
                </c:pt>
                <c:pt idx="147">
                  <c:v>0.123455011</c:v>
                </c:pt>
                <c:pt idx="148">
                  <c:v>0.12775868900000001</c:v>
                </c:pt>
                <c:pt idx="149">
                  <c:v>0.13197013899999999</c:v>
                </c:pt>
                <c:pt idx="150">
                  <c:v>0.133489793</c:v>
                </c:pt>
                <c:pt idx="151">
                  <c:v>0.134751826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21-4576-B977-886709C89C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31664431"/>
        <c:axId val="711924943"/>
      </c:lineChart>
      <c:dateAx>
        <c:axId val="831664431"/>
        <c:scaling>
          <c:orientation val="minMax"/>
        </c:scaling>
        <c:delete val="0"/>
        <c:axPos val="b"/>
        <c:numFmt formatCode="dd/mm/yy;@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11924943"/>
        <c:crosses val="autoZero"/>
        <c:auto val="1"/>
        <c:lblOffset val="100"/>
        <c:baseTimeUnit val="days"/>
      </c:dateAx>
      <c:valAx>
        <c:axId val="71192494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3166443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900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4751479373803749E-2"/>
          <c:y val="5.1305499090126168E-2"/>
          <c:w val="0.77512667505996025"/>
          <c:h val="0.7502938956739218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čkovaní celkem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182"/>
              <c:layout/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360F-41E9-B536-43ACCC22D845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5:$A$187</c:f>
              <c:numCache>
                <c:formatCode>dd/mm/yy;@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B$5:$B$187</c:f>
              <c:numCache>
                <c:formatCode>0.00%</c:formatCode>
                <c:ptCount val="183"/>
                <c:pt idx="0">
                  <c:v>1.1800000000000001E-3</c:v>
                </c:pt>
                <c:pt idx="1">
                  <c:v>1.33E-3</c:v>
                </c:pt>
                <c:pt idx="2">
                  <c:v>1.3600000000000001E-3</c:v>
                </c:pt>
                <c:pt idx="3">
                  <c:v>1.5E-3</c:v>
                </c:pt>
                <c:pt idx="4">
                  <c:v>1.6000000000000001E-3</c:v>
                </c:pt>
                <c:pt idx="5">
                  <c:v>2E-3</c:v>
                </c:pt>
                <c:pt idx="6">
                  <c:v>2.5100000000000001E-3</c:v>
                </c:pt>
                <c:pt idx="7">
                  <c:v>3.16E-3</c:v>
                </c:pt>
                <c:pt idx="8">
                  <c:v>4.0600000000000002E-3</c:v>
                </c:pt>
                <c:pt idx="9">
                  <c:v>5.1700000000000001E-3</c:v>
                </c:pt>
                <c:pt idx="10">
                  <c:v>5.4000000000000003E-3</c:v>
                </c:pt>
                <c:pt idx="11">
                  <c:v>5.5999999999999999E-3</c:v>
                </c:pt>
                <c:pt idx="12">
                  <c:v>6.7000000000000002E-3</c:v>
                </c:pt>
                <c:pt idx="13">
                  <c:v>8.2000000000000007E-3</c:v>
                </c:pt>
                <c:pt idx="14">
                  <c:v>9.7199999999999995E-3</c:v>
                </c:pt>
                <c:pt idx="15">
                  <c:v>1.1429999999999999E-2</c:v>
                </c:pt>
                <c:pt idx="16">
                  <c:v>1.2999999999999999E-2</c:v>
                </c:pt>
                <c:pt idx="17">
                  <c:v>1.338E-2</c:v>
                </c:pt>
                <c:pt idx="18">
                  <c:v>1.367E-2</c:v>
                </c:pt>
                <c:pt idx="19">
                  <c:v>1.507E-2</c:v>
                </c:pt>
                <c:pt idx="20">
                  <c:v>1.6480000000000002E-2</c:v>
                </c:pt>
                <c:pt idx="21">
                  <c:v>1.7999999999999999E-2</c:v>
                </c:pt>
                <c:pt idx="22">
                  <c:v>1.975E-2</c:v>
                </c:pt>
                <c:pt idx="23">
                  <c:v>2.1409999999999998E-2</c:v>
                </c:pt>
                <c:pt idx="24">
                  <c:v>2.1780000000000001E-2</c:v>
                </c:pt>
                <c:pt idx="25">
                  <c:v>2.2040000000000001E-2</c:v>
                </c:pt>
                <c:pt idx="26">
                  <c:v>2.3120000000000002E-2</c:v>
                </c:pt>
                <c:pt idx="27">
                  <c:v>2.4299999999999999E-2</c:v>
                </c:pt>
                <c:pt idx="28">
                  <c:v>2.5309999999999999E-2</c:v>
                </c:pt>
                <c:pt idx="29">
                  <c:v>2.6100000000000002E-2</c:v>
                </c:pt>
                <c:pt idx="30">
                  <c:v>2.6800000000000001E-2</c:v>
                </c:pt>
                <c:pt idx="31">
                  <c:v>2.6880000000000001E-2</c:v>
                </c:pt>
                <c:pt idx="32">
                  <c:v>2.6960000000000001E-2</c:v>
                </c:pt>
                <c:pt idx="33">
                  <c:v>2.7400000000000001E-2</c:v>
                </c:pt>
                <c:pt idx="34">
                  <c:v>2.7859999999999999E-2</c:v>
                </c:pt>
                <c:pt idx="35">
                  <c:v>2.836E-2</c:v>
                </c:pt>
                <c:pt idx="36">
                  <c:v>2.8910000000000002E-2</c:v>
                </c:pt>
                <c:pt idx="37">
                  <c:v>2.9520000000000001E-2</c:v>
                </c:pt>
                <c:pt idx="38">
                  <c:v>2.9610000000000001E-2</c:v>
                </c:pt>
                <c:pt idx="39">
                  <c:v>2.971E-2</c:v>
                </c:pt>
                <c:pt idx="40">
                  <c:v>3.0159999999999999E-2</c:v>
                </c:pt>
                <c:pt idx="41">
                  <c:v>3.073E-2</c:v>
                </c:pt>
                <c:pt idx="42">
                  <c:v>3.1350000000000003E-2</c:v>
                </c:pt>
                <c:pt idx="43">
                  <c:v>3.2059999999999998E-2</c:v>
                </c:pt>
                <c:pt idx="44">
                  <c:v>3.2809999999999999E-2</c:v>
                </c:pt>
                <c:pt idx="45">
                  <c:v>3.2989999999999998E-2</c:v>
                </c:pt>
                <c:pt idx="46">
                  <c:v>3.3099999999999997E-2</c:v>
                </c:pt>
                <c:pt idx="47">
                  <c:v>3.381E-2</c:v>
                </c:pt>
                <c:pt idx="48">
                  <c:v>3.4779999999999998E-2</c:v>
                </c:pt>
                <c:pt idx="49">
                  <c:v>3.5869999999999999E-2</c:v>
                </c:pt>
                <c:pt idx="50">
                  <c:v>3.7249999999999998E-2</c:v>
                </c:pt>
                <c:pt idx="51">
                  <c:v>3.857E-2</c:v>
                </c:pt>
                <c:pt idx="52">
                  <c:v>3.8789999999999998E-2</c:v>
                </c:pt>
                <c:pt idx="53">
                  <c:v>3.8899999999999997E-2</c:v>
                </c:pt>
                <c:pt idx="54">
                  <c:v>4.0039999999999999E-2</c:v>
                </c:pt>
                <c:pt idx="55">
                  <c:v>4.1480000000000003E-2</c:v>
                </c:pt>
                <c:pt idx="56">
                  <c:v>4.3029999999999999E-2</c:v>
                </c:pt>
                <c:pt idx="57">
                  <c:v>4.5039999999999997E-2</c:v>
                </c:pt>
                <c:pt idx="58">
                  <c:v>4.684E-2</c:v>
                </c:pt>
                <c:pt idx="59">
                  <c:v>4.7169999999999997E-2</c:v>
                </c:pt>
                <c:pt idx="60">
                  <c:v>4.743E-2</c:v>
                </c:pt>
                <c:pt idx="61">
                  <c:v>4.9610000000000001E-2</c:v>
                </c:pt>
                <c:pt idx="62">
                  <c:v>5.262E-2</c:v>
                </c:pt>
                <c:pt idx="63">
                  <c:v>5.604E-2</c:v>
                </c:pt>
                <c:pt idx="64">
                  <c:v>5.9740000000000001E-2</c:v>
                </c:pt>
                <c:pt idx="65">
                  <c:v>6.2950000000000006E-2</c:v>
                </c:pt>
                <c:pt idx="66">
                  <c:v>6.429E-2</c:v>
                </c:pt>
                <c:pt idx="67">
                  <c:v>6.5570000000000003E-2</c:v>
                </c:pt>
                <c:pt idx="68">
                  <c:v>6.8890000000000007E-2</c:v>
                </c:pt>
                <c:pt idx="69">
                  <c:v>7.2940000000000005E-2</c:v>
                </c:pt>
                <c:pt idx="70">
                  <c:v>7.7539999999999998E-2</c:v>
                </c:pt>
                <c:pt idx="71">
                  <c:v>8.2540000000000002E-2</c:v>
                </c:pt>
                <c:pt idx="72">
                  <c:v>8.6849999999999997E-2</c:v>
                </c:pt>
                <c:pt idx="73">
                  <c:v>8.8760000000000006E-2</c:v>
                </c:pt>
                <c:pt idx="74">
                  <c:v>9.0120000000000006E-2</c:v>
                </c:pt>
                <c:pt idx="75">
                  <c:v>9.3280000000000002E-2</c:v>
                </c:pt>
                <c:pt idx="76">
                  <c:v>9.7619999999999998E-2</c:v>
                </c:pt>
                <c:pt idx="77">
                  <c:v>0.1018</c:v>
                </c:pt>
                <c:pt idx="78">
                  <c:v>0.10603</c:v>
                </c:pt>
                <c:pt idx="79">
                  <c:v>0.10985</c:v>
                </c:pt>
                <c:pt idx="80">
                  <c:v>0.11154</c:v>
                </c:pt>
                <c:pt idx="81">
                  <c:v>0.11236</c:v>
                </c:pt>
                <c:pt idx="82">
                  <c:v>0.11507000000000001</c:v>
                </c:pt>
                <c:pt idx="83">
                  <c:v>0.11803</c:v>
                </c:pt>
                <c:pt idx="84">
                  <c:v>0.12101000000000001</c:v>
                </c:pt>
                <c:pt idx="85">
                  <c:v>0.12395</c:v>
                </c:pt>
                <c:pt idx="86">
                  <c:v>0.12670000000000001</c:v>
                </c:pt>
                <c:pt idx="87">
                  <c:v>0.12764</c:v>
                </c:pt>
                <c:pt idx="88">
                  <c:v>0.12826000000000001</c:v>
                </c:pt>
                <c:pt idx="89">
                  <c:v>0.13038</c:v>
                </c:pt>
                <c:pt idx="90">
                  <c:v>0.13311999999999999</c:v>
                </c:pt>
                <c:pt idx="91">
                  <c:v>0.13569000000000001</c:v>
                </c:pt>
                <c:pt idx="92">
                  <c:v>0.13852999999999999</c:v>
                </c:pt>
                <c:pt idx="93">
                  <c:v>0.13929</c:v>
                </c:pt>
                <c:pt idx="94">
                  <c:v>0.13968</c:v>
                </c:pt>
                <c:pt idx="95">
                  <c:v>0.13994999999999999</c:v>
                </c:pt>
                <c:pt idx="96">
                  <c:v>0.14021</c:v>
                </c:pt>
                <c:pt idx="97">
                  <c:v>0.14199999999999999</c:v>
                </c:pt>
                <c:pt idx="98">
                  <c:v>0.14460000000000001</c:v>
                </c:pt>
                <c:pt idx="99">
                  <c:v>0.14885000000000001</c:v>
                </c:pt>
                <c:pt idx="100">
                  <c:v>0.15318000000000001</c:v>
                </c:pt>
                <c:pt idx="101">
                  <c:v>0.15489</c:v>
                </c:pt>
                <c:pt idx="102">
                  <c:v>0.15598000000000001</c:v>
                </c:pt>
                <c:pt idx="103">
                  <c:v>0.16019</c:v>
                </c:pt>
                <c:pt idx="104">
                  <c:v>0.16417999999999999</c:v>
                </c:pt>
                <c:pt idx="105">
                  <c:v>0.16847999999999999</c:v>
                </c:pt>
                <c:pt idx="106">
                  <c:v>0.17379</c:v>
                </c:pt>
                <c:pt idx="107">
                  <c:v>0.17874000000000001</c:v>
                </c:pt>
                <c:pt idx="108">
                  <c:v>0.18059</c:v>
                </c:pt>
                <c:pt idx="109">
                  <c:v>0.18204000000000001</c:v>
                </c:pt>
                <c:pt idx="110">
                  <c:v>0.18693000000000001</c:v>
                </c:pt>
                <c:pt idx="111">
                  <c:v>0.19162999999999999</c:v>
                </c:pt>
                <c:pt idx="112">
                  <c:v>0.19692999999999999</c:v>
                </c:pt>
                <c:pt idx="113">
                  <c:v>0.20299</c:v>
                </c:pt>
                <c:pt idx="114">
                  <c:v>0.20855000000000001</c:v>
                </c:pt>
                <c:pt idx="115">
                  <c:v>0.21052999999999999</c:v>
                </c:pt>
                <c:pt idx="116">
                  <c:v>0.21215999999999999</c:v>
                </c:pt>
                <c:pt idx="117">
                  <c:v>0.21767</c:v>
                </c:pt>
                <c:pt idx="118">
                  <c:v>0.22309999999999999</c:v>
                </c:pt>
                <c:pt idx="119">
                  <c:v>0.22964999999999999</c:v>
                </c:pt>
                <c:pt idx="120">
                  <c:v>0.23694000000000001</c:v>
                </c:pt>
                <c:pt idx="121">
                  <c:v>0.24385000000000001</c:v>
                </c:pt>
                <c:pt idx="122">
                  <c:v>0.246</c:v>
                </c:pt>
                <c:pt idx="123">
                  <c:v>0.24809999999999999</c:v>
                </c:pt>
                <c:pt idx="124">
                  <c:v>0.25557999999999997</c:v>
                </c:pt>
                <c:pt idx="125">
                  <c:v>0.26295000000000002</c:v>
                </c:pt>
                <c:pt idx="126">
                  <c:v>0.27105000000000001</c:v>
                </c:pt>
                <c:pt idx="127">
                  <c:v>0.27988000000000002</c:v>
                </c:pt>
                <c:pt idx="128">
                  <c:v>0.28841</c:v>
                </c:pt>
                <c:pt idx="129">
                  <c:v>0.29166999999999998</c:v>
                </c:pt>
                <c:pt idx="130">
                  <c:v>0.29437000000000002</c:v>
                </c:pt>
                <c:pt idx="131">
                  <c:v>0.30212</c:v>
                </c:pt>
                <c:pt idx="132">
                  <c:v>0.31491000000000002</c:v>
                </c:pt>
                <c:pt idx="133">
                  <c:v>0.32771</c:v>
                </c:pt>
                <c:pt idx="134">
                  <c:v>0.34050000000000002</c:v>
                </c:pt>
                <c:pt idx="135">
                  <c:v>0.35328999999999999</c:v>
                </c:pt>
                <c:pt idx="136">
                  <c:v>0.36609000000000003</c:v>
                </c:pt>
                <c:pt idx="137">
                  <c:v>0.37887999999999999</c:v>
                </c:pt>
                <c:pt idx="138">
                  <c:v>0.39167999999999997</c:v>
                </c:pt>
                <c:pt idx="139">
                  <c:v>0.40447</c:v>
                </c:pt>
                <c:pt idx="140">
                  <c:v>0.41677999999999998</c:v>
                </c:pt>
                <c:pt idx="141">
                  <c:v>0.42909000000000003</c:v>
                </c:pt>
                <c:pt idx="142">
                  <c:v>0.44140000000000001</c:v>
                </c:pt>
                <c:pt idx="143">
                  <c:v>0.45371</c:v>
                </c:pt>
                <c:pt idx="144">
                  <c:v>0.46361999999999998</c:v>
                </c:pt>
                <c:pt idx="145">
                  <c:v>0.47009000000000001</c:v>
                </c:pt>
                <c:pt idx="146">
                  <c:v>0.47655999999999998</c:v>
                </c:pt>
                <c:pt idx="147">
                  <c:v>0.48303000000000001</c:v>
                </c:pt>
                <c:pt idx="148">
                  <c:v>0.48949999999999999</c:v>
                </c:pt>
                <c:pt idx="149">
                  <c:v>0.49332999999999999</c:v>
                </c:pt>
                <c:pt idx="150">
                  <c:v>0.49715999999999999</c:v>
                </c:pt>
                <c:pt idx="151">
                  <c:v>0.498</c:v>
                </c:pt>
                <c:pt idx="152">
                  <c:v>0.49883</c:v>
                </c:pt>
                <c:pt idx="153">
                  <c:v>0.50404000000000004</c:v>
                </c:pt>
                <c:pt idx="154">
                  <c:v>0.50924000000000003</c:v>
                </c:pt>
                <c:pt idx="155">
                  <c:v>0.51444000000000001</c:v>
                </c:pt>
                <c:pt idx="156">
                  <c:v>0.51964999999999995</c:v>
                </c:pt>
                <c:pt idx="157">
                  <c:v>0.52485000000000004</c:v>
                </c:pt>
                <c:pt idx="158">
                  <c:v>0.53005999999999998</c:v>
                </c:pt>
                <c:pt idx="159">
                  <c:v>0.53525999999999996</c:v>
                </c:pt>
                <c:pt idx="160">
                  <c:v>0.54046000000000005</c:v>
                </c:pt>
                <c:pt idx="161">
                  <c:v>0.54566999999999999</c:v>
                </c:pt>
                <c:pt idx="162">
                  <c:v>0.55086999999999997</c:v>
                </c:pt>
                <c:pt idx="163">
                  <c:v>0.55608000000000002</c:v>
                </c:pt>
                <c:pt idx="164">
                  <c:v>0.56128</c:v>
                </c:pt>
                <c:pt idx="165">
                  <c:v>0.56647999999999998</c:v>
                </c:pt>
                <c:pt idx="166">
                  <c:v>0.57169000000000003</c:v>
                </c:pt>
                <c:pt idx="167">
                  <c:v>0.57689000000000001</c:v>
                </c:pt>
                <c:pt idx="168">
                  <c:v>0.58209999999999995</c:v>
                </c:pt>
                <c:pt idx="169">
                  <c:v>0.58730000000000004</c:v>
                </c:pt>
                <c:pt idx="170">
                  <c:v>0.59250999999999998</c:v>
                </c:pt>
                <c:pt idx="171">
                  <c:v>0.59770999999999996</c:v>
                </c:pt>
                <c:pt idx="172">
                  <c:v>0.60290999999999995</c:v>
                </c:pt>
                <c:pt idx="173">
                  <c:v>0.60811999999999999</c:v>
                </c:pt>
                <c:pt idx="174">
                  <c:v>0.61331999999999998</c:v>
                </c:pt>
                <c:pt idx="175">
                  <c:v>0.61853000000000002</c:v>
                </c:pt>
                <c:pt idx="176">
                  <c:v>0.62373000000000001</c:v>
                </c:pt>
                <c:pt idx="177">
                  <c:v>0.62892999999999999</c:v>
                </c:pt>
                <c:pt idx="178">
                  <c:v>0.63414000000000004</c:v>
                </c:pt>
                <c:pt idx="179">
                  <c:v>0.63934000000000002</c:v>
                </c:pt>
                <c:pt idx="180">
                  <c:v>0.64454999999999996</c:v>
                </c:pt>
                <c:pt idx="181">
                  <c:v>0.64975000000000005</c:v>
                </c:pt>
                <c:pt idx="182">
                  <c:v>0.654950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60F-41E9-B536-43ACCC22D845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Dokončené očkování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dLbls>
            <c:dLbl>
              <c:idx val="182"/>
              <c:layout/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360F-41E9-B536-43ACCC22D845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C0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5:$A$187</c:f>
              <c:numCache>
                <c:formatCode>dd/mm/yy;@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C$5:$C$187</c:f>
              <c:numCache>
                <c:formatCode>0.00%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6.9999999999999994E-5</c:v>
                </c:pt>
                <c:pt idx="19">
                  <c:v>2.7E-4</c:v>
                </c:pt>
                <c:pt idx="20">
                  <c:v>5.6999999999999998E-4</c:v>
                </c:pt>
                <c:pt idx="21">
                  <c:v>8.7000000000000001E-4</c:v>
                </c:pt>
                <c:pt idx="22">
                  <c:v>1.06E-3</c:v>
                </c:pt>
                <c:pt idx="23">
                  <c:v>1.1800000000000001E-3</c:v>
                </c:pt>
                <c:pt idx="24">
                  <c:v>1.2700000000000001E-3</c:v>
                </c:pt>
                <c:pt idx="25">
                  <c:v>1.3699999999999999E-3</c:v>
                </c:pt>
                <c:pt idx="26">
                  <c:v>1.6999999999999999E-3</c:v>
                </c:pt>
                <c:pt idx="27">
                  <c:v>2.15E-3</c:v>
                </c:pt>
                <c:pt idx="28">
                  <c:v>2.65E-3</c:v>
                </c:pt>
                <c:pt idx="29">
                  <c:v>3.3400000000000001E-3</c:v>
                </c:pt>
                <c:pt idx="30">
                  <c:v>4.2100000000000002E-3</c:v>
                </c:pt>
                <c:pt idx="31">
                  <c:v>4.3400000000000001E-3</c:v>
                </c:pt>
                <c:pt idx="32">
                  <c:v>4.47E-3</c:v>
                </c:pt>
                <c:pt idx="33">
                  <c:v>5.3499999999999997E-3</c:v>
                </c:pt>
                <c:pt idx="34">
                  <c:v>6.4999999999999997E-3</c:v>
                </c:pt>
                <c:pt idx="35">
                  <c:v>7.7299999999999999E-3</c:v>
                </c:pt>
                <c:pt idx="36">
                  <c:v>9.1800000000000007E-3</c:v>
                </c:pt>
                <c:pt idx="37">
                  <c:v>1.038E-2</c:v>
                </c:pt>
                <c:pt idx="38">
                  <c:v>1.064E-2</c:v>
                </c:pt>
                <c:pt idx="39">
                  <c:v>1.0919999999999999E-2</c:v>
                </c:pt>
                <c:pt idx="40">
                  <c:v>1.2189999999999999E-2</c:v>
                </c:pt>
                <c:pt idx="41">
                  <c:v>1.353E-2</c:v>
                </c:pt>
                <c:pt idx="42">
                  <c:v>1.4999999999999999E-2</c:v>
                </c:pt>
                <c:pt idx="43">
                  <c:v>1.6809999999999999E-2</c:v>
                </c:pt>
                <c:pt idx="44">
                  <c:v>1.8460000000000001E-2</c:v>
                </c:pt>
                <c:pt idx="45">
                  <c:v>1.8790000000000001E-2</c:v>
                </c:pt>
                <c:pt idx="46">
                  <c:v>1.8939999999999999E-2</c:v>
                </c:pt>
                <c:pt idx="47">
                  <c:v>1.9990000000000001E-2</c:v>
                </c:pt>
                <c:pt idx="48">
                  <c:v>2.1000000000000001E-2</c:v>
                </c:pt>
                <c:pt idx="49">
                  <c:v>2.1919999999999999E-2</c:v>
                </c:pt>
                <c:pt idx="50">
                  <c:v>2.282E-2</c:v>
                </c:pt>
                <c:pt idx="51">
                  <c:v>2.3630000000000002E-2</c:v>
                </c:pt>
                <c:pt idx="52">
                  <c:v>2.376E-2</c:v>
                </c:pt>
                <c:pt idx="53">
                  <c:v>2.3879999999999998E-2</c:v>
                </c:pt>
                <c:pt idx="54">
                  <c:v>2.4549999999999999E-2</c:v>
                </c:pt>
                <c:pt idx="55">
                  <c:v>2.5329999999999998E-2</c:v>
                </c:pt>
                <c:pt idx="56">
                  <c:v>2.5999999999999999E-2</c:v>
                </c:pt>
                <c:pt idx="57">
                  <c:v>2.6620000000000001E-2</c:v>
                </c:pt>
                <c:pt idx="58">
                  <c:v>2.7220000000000001E-2</c:v>
                </c:pt>
                <c:pt idx="59">
                  <c:v>2.7279999999999999E-2</c:v>
                </c:pt>
                <c:pt idx="60">
                  <c:v>2.7349999999999999E-2</c:v>
                </c:pt>
                <c:pt idx="61">
                  <c:v>2.7730000000000001E-2</c:v>
                </c:pt>
                <c:pt idx="62">
                  <c:v>2.8119999999999999E-2</c:v>
                </c:pt>
                <c:pt idx="63">
                  <c:v>2.862E-2</c:v>
                </c:pt>
                <c:pt idx="64">
                  <c:v>2.9139999999999999E-2</c:v>
                </c:pt>
                <c:pt idx="65">
                  <c:v>2.9749999999999999E-2</c:v>
                </c:pt>
                <c:pt idx="66">
                  <c:v>2.9839999999999998E-2</c:v>
                </c:pt>
                <c:pt idx="67">
                  <c:v>2.9929999999999998E-2</c:v>
                </c:pt>
                <c:pt idx="68">
                  <c:v>3.0470000000000001E-2</c:v>
                </c:pt>
                <c:pt idx="69">
                  <c:v>3.1179999999999999E-2</c:v>
                </c:pt>
                <c:pt idx="70">
                  <c:v>3.1960000000000002E-2</c:v>
                </c:pt>
                <c:pt idx="71">
                  <c:v>3.2890000000000003E-2</c:v>
                </c:pt>
                <c:pt idx="72">
                  <c:v>3.3829999999999999E-2</c:v>
                </c:pt>
                <c:pt idx="73">
                  <c:v>3.3980000000000003E-2</c:v>
                </c:pt>
                <c:pt idx="74">
                  <c:v>3.4099999999999998E-2</c:v>
                </c:pt>
                <c:pt idx="75">
                  <c:v>3.508E-2</c:v>
                </c:pt>
                <c:pt idx="76">
                  <c:v>3.6260000000000001E-2</c:v>
                </c:pt>
                <c:pt idx="77">
                  <c:v>3.7429999999999998E-2</c:v>
                </c:pt>
                <c:pt idx="78">
                  <c:v>3.882E-2</c:v>
                </c:pt>
                <c:pt idx="79">
                  <c:v>4.0340000000000001E-2</c:v>
                </c:pt>
                <c:pt idx="80">
                  <c:v>4.0570000000000002E-2</c:v>
                </c:pt>
                <c:pt idx="81">
                  <c:v>4.0739999999999998E-2</c:v>
                </c:pt>
                <c:pt idx="82">
                  <c:v>4.2130000000000001E-2</c:v>
                </c:pt>
                <c:pt idx="83">
                  <c:v>4.3619999999999999E-2</c:v>
                </c:pt>
                <c:pt idx="84">
                  <c:v>4.5370000000000001E-2</c:v>
                </c:pt>
                <c:pt idx="85">
                  <c:v>4.7370000000000002E-2</c:v>
                </c:pt>
                <c:pt idx="86">
                  <c:v>4.9329999999999999E-2</c:v>
                </c:pt>
                <c:pt idx="87">
                  <c:v>4.9860000000000002E-2</c:v>
                </c:pt>
                <c:pt idx="88">
                  <c:v>5.033E-2</c:v>
                </c:pt>
                <c:pt idx="89">
                  <c:v>5.2630000000000003E-2</c:v>
                </c:pt>
                <c:pt idx="90">
                  <c:v>5.5109999999999999E-2</c:v>
                </c:pt>
                <c:pt idx="91">
                  <c:v>5.8130000000000001E-2</c:v>
                </c:pt>
                <c:pt idx="92">
                  <c:v>6.1710000000000001E-2</c:v>
                </c:pt>
                <c:pt idx="93">
                  <c:v>6.3130000000000006E-2</c:v>
                </c:pt>
                <c:pt idx="94">
                  <c:v>6.4360000000000001E-2</c:v>
                </c:pt>
                <c:pt idx="95">
                  <c:v>6.5339999999999995E-2</c:v>
                </c:pt>
                <c:pt idx="96">
                  <c:v>6.6140000000000004E-2</c:v>
                </c:pt>
                <c:pt idx="97">
                  <c:v>6.9409999999999999E-2</c:v>
                </c:pt>
                <c:pt idx="98">
                  <c:v>7.1879999999999999E-2</c:v>
                </c:pt>
                <c:pt idx="99">
                  <c:v>7.535E-2</c:v>
                </c:pt>
                <c:pt idx="100">
                  <c:v>7.8700000000000006E-2</c:v>
                </c:pt>
                <c:pt idx="101">
                  <c:v>8.0409999999999995E-2</c:v>
                </c:pt>
                <c:pt idx="102">
                  <c:v>8.1530000000000005E-2</c:v>
                </c:pt>
                <c:pt idx="103">
                  <c:v>8.43E-2</c:v>
                </c:pt>
                <c:pt idx="104">
                  <c:v>8.72E-2</c:v>
                </c:pt>
                <c:pt idx="105">
                  <c:v>9.0260000000000007E-2</c:v>
                </c:pt>
                <c:pt idx="106">
                  <c:v>9.3130000000000004E-2</c:v>
                </c:pt>
                <c:pt idx="107">
                  <c:v>9.6000000000000002E-2</c:v>
                </c:pt>
                <c:pt idx="108">
                  <c:v>9.7009999999999999E-2</c:v>
                </c:pt>
                <c:pt idx="109">
                  <c:v>9.7559999999999994E-2</c:v>
                </c:pt>
                <c:pt idx="110">
                  <c:v>9.9279999999999993E-2</c:v>
                </c:pt>
                <c:pt idx="111">
                  <c:v>0.10105</c:v>
                </c:pt>
                <c:pt idx="112">
                  <c:v>0.10263</c:v>
                </c:pt>
                <c:pt idx="113">
                  <c:v>0.10457</c:v>
                </c:pt>
                <c:pt idx="114">
                  <c:v>0.10591</c:v>
                </c:pt>
                <c:pt idx="115">
                  <c:v>0.10649</c:v>
                </c:pt>
                <c:pt idx="116">
                  <c:v>0.10693999999999999</c:v>
                </c:pt>
                <c:pt idx="117">
                  <c:v>0.10777</c:v>
                </c:pt>
                <c:pt idx="118">
                  <c:v>0.10913</c:v>
                </c:pt>
                <c:pt idx="119">
                  <c:v>0.11068</c:v>
                </c:pt>
                <c:pt idx="120">
                  <c:v>0.11244</c:v>
                </c:pt>
                <c:pt idx="121">
                  <c:v>0.11353000000000001</c:v>
                </c:pt>
                <c:pt idx="122">
                  <c:v>0.11391</c:v>
                </c:pt>
                <c:pt idx="123">
                  <c:v>0.11416</c:v>
                </c:pt>
                <c:pt idx="124">
                  <c:v>0.11471000000000001</c:v>
                </c:pt>
                <c:pt idx="125">
                  <c:v>0.11562</c:v>
                </c:pt>
                <c:pt idx="126">
                  <c:v>0.11666</c:v>
                </c:pt>
                <c:pt idx="127">
                  <c:v>0.11781999999999999</c:v>
                </c:pt>
                <c:pt idx="128">
                  <c:v>0.11891</c:v>
                </c:pt>
                <c:pt idx="129">
                  <c:v>0.1191</c:v>
                </c:pt>
                <c:pt idx="130">
                  <c:v>0.11923</c:v>
                </c:pt>
                <c:pt idx="131">
                  <c:v>0.12</c:v>
                </c:pt>
                <c:pt idx="132">
                  <c:v>0.12275</c:v>
                </c:pt>
                <c:pt idx="133">
                  <c:v>0.12534999999999999</c:v>
                </c:pt>
                <c:pt idx="134">
                  <c:v>0.12831000000000001</c:v>
                </c:pt>
                <c:pt idx="135">
                  <c:v>0.12964000000000001</c:v>
                </c:pt>
                <c:pt idx="136">
                  <c:v>0.13064000000000001</c:v>
                </c:pt>
                <c:pt idx="137">
                  <c:v>0.13153000000000001</c:v>
                </c:pt>
                <c:pt idx="138">
                  <c:v>0.13245000000000001</c:v>
                </c:pt>
                <c:pt idx="139">
                  <c:v>0.13461999999999999</c:v>
                </c:pt>
                <c:pt idx="140">
                  <c:v>0.13713</c:v>
                </c:pt>
                <c:pt idx="141">
                  <c:v>0.14094000000000001</c:v>
                </c:pt>
                <c:pt idx="142">
                  <c:v>0.14480000000000001</c:v>
                </c:pt>
                <c:pt idx="143">
                  <c:v>0.14677000000000001</c:v>
                </c:pt>
                <c:pt idx="144">
                  <c:v>0.14828</c:v>
                </c:pt>
                <c:pt idx="145">
                  <c:v>0.15201999999999999</c:v>
                </c:pt>
                <c:pt idx="146">
                  <c:v>0.15558</c:v>
                </c:pt>
                <c:pt idx="147">
                  <c:v>0.15941</c:v>
                </c:pt>
                <c:pt idx="148">
                  <c:v>0.16450000000000001</c:v>
                </c:pt>
                <c:pt idx="149">
                  <c:v>0.16928000000000001</c:v>
                </c:pt>
                <c:pt idx="150">
                  <c:v>0.17130999999999999</c:v>
                </c:pt>
                <c:pt idx="151">
                  <c:v>0.17283000000000001</c:v>
                </c:pt>
                <c:pt idx="152">
                  <c:v>0.17760000000000001</c:v>
                </c:pt>
                <c:pt idx="153">
                  <c:v>0.18493999999999999</c:v>
                </c:pt>
                <c:pt idx="154">
                  <c:v>0.19286</c:v>
                </c:pt>
                <c:pt idx="155">
                  <c:v>0.20143</c:v>
                </c:pt>
                <c:pt idx="156">
                  <c:v>0.20957999999999999</c:v>
                </c:pt>
                <c:pt idx="157">
                  <c:v>0.21431</c:v>
                </c:pt>
                <c:pt idx="158">
                  <c:v>0.21873999999999999</c:v>
                </c:pt>
                <c:pt idx="159">
                  <c:v>0.22681000000000001</c:v>
                </c:pt>
                <c:pt idx="160">
                  <c:v>0.23501</c:v>
                </c:pt>
                <c:pt idx="161">
                  <c:v>0.24421999999999999</c:v>
                </c:pt>
                <c:pt idx="162">
                  <c:v>0.25430999999999998</c:v>
                </c:pt>
                <c:pt idx="163">
                  <c:v>0.26438</c:v>
                </c:pt>
                <c:pt idx="164">
                  <c:v>0.26917999999999997</c:v>
                </c:pt>
                <c:pt idx="165">
                  <c:v>0.27372000000000002</c:v>
                </c:pt>
                <c:pt idx="166">
                  <c:v>0.28397</c:v>
                </c:pt>
                <c:pt idx="167">
                  <c:v>0.29404000000000002</c:v>
                </c:pt>
                <c:pt idx="168">
                  <c:v>0.30465999999999999</c:v>
                </c:pt>
                <c:pt idx="169">
                  <c:v>0.31601000000000001</c:v>
                </c:pt>
                <c:pt idx="170">
                  <c:v>0.32716000000000001</c:v>
                </c:pt>
                <c:pt idx="171">
                  <c:v>0.33300000000000002</c:v>
                </c:pt>
                <c:pt idx="172">
                  <c:v>0.33807999999999999</c:v>
                </c:pt>
                <c:pt idx="173">
                  <c:v>0.3483</c:v>
                </c:pt>
                <c:pt idx="174">
                  <c:v>0.36225000000000002</c:v>
                </c:pt>
                <c:pt idx="175">
                  <c:v>0.37624000000000002</c:v>
                </c:pt>
                <c:pt idx="176">
                  <c:v>0.39019999999999999</c:v>
                </c:pt>
                <c:pt idx="177">
                  <c:v>0.40395999999999999</c:v>
                </c:pt>
                <c:pt idx="178">
                  <c:v>0.41719000000000001</c:v>
                </c:pt>
                <c:pt idx="179">
                  <c:v>0.43032999999999999</c:v>
                </c:pt>
                <c:pt idx="180">
                  <c:v>0.44388</c:v>
                </c:pt>
                <c:pt idx="181">
                  <c:v>0.45760000000000001</c:v>
                </c:pt>
                <c:pt idx="182">
                  <c:v>0.470880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60F-41E9-B536-43ACCC22D845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Sloupec2</c:v>
                </c:pt>
              </c:strCache>
            </c:strRef>
          </c:tx>
          <c:spPr>
            <a:ln w="952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dd/mm/yy;@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D$5:$D$187</c:f>
              <c:numCache>
                <c:formatCode>General</c:formatCode>
                <c:ptCount val="183"/>
                <c:pt idx="0">
                  <c:v>1.178957E-3</c:v>
                </c:pt>
                <c:pt idx="1">
                  <c:v>1.3258339999999999E-3</c:v>
                </c:pt>
                <c:pt idx="2">
                  <c:v>1.3552320000000001E-3</c:v>
                </c:pt>
                <c:pt idx="3">
                  <c:v>1.497941E-3</c:v>
                </c:pt>
                <c:pt idx="4">
                  <c:v>1.6010029999999999E-3</c:v>
                </c:pt>
                <c:pt idx="5">
                  <c:v>2.0035629999999999E-3</c:v>
                </c:pt>
                <c:pt idx="6">
                  <c:v>2.5094100000000001E-3</c:v>
                </c:pt>
                <c:pt idx="7">
                  <c:v>3.1646109999999999E-3</c:v>
                </c:pt>
                <c:pt idx="8">
                  <c:v>4.0591630000000002E-3</c:v>
                </c:pt>
                <c:pt idx="9">
                  <c:v>5.1779729999999998E-3</c:v>
                </c:pt>
                <c:pt idx="10">
                  <c:v>5.4047089999999997E-3</c:v>
                </c:pt>
                <c:pt idx="11">
                  <c:v>5.6019340000000003E-3</c:v>
                </c:pt>
                <c:pt idx="12">
                  <c:v>6.7050870000000002E-3</c:v>
                </c:pt>
                <c:pt idx="13">
                  <c:v>8.2094490000000006E-3</c:v>
                </c:pt>
                <c:pt idx="14">
                  <c:v>9.7274400000000004E-3</c:v>
                </c:pt>
                <c:pt idx="15">
                  <c:v>1.1434771E-2</c:v>
                </c:pt>
                <c:pt idx="16">
                  <c:v>1.3005024E-2</c:v>
                </c:pt>
                <c:pt idx="17">
                  <c:v>1.3384831999999999E-2</c:v>
                </c:pt>
                <c:pt idx="18">
                  <c:v>1.3677346999999999E-2</c:v>
                </c:pt>
                <c:pt idx="19">
                  <c:v>1.5079548E-2</c:v>
                </c:pt>
                <c:pt idx="20">
                  <c:v>1.6488169E-2</c:v>
                </c:pt>
                <c:pt idx="21">
                  <c:v>1.8021140000000001E-2</c:v>
                </c:pt>
                <c:pt idx="22">
                  <c:v>1.9773188000000001E-2</c:v>
                </c:pt>
                <c:pt idx="23">
                  <c:v>2.1439857999999999E-2</c:v>
                </c:pt>
                <c:pt idx="24">
                  <c:v>2.1809189999999999E-2</c:v>
                </c:pt>
                <c:pt idx="25">
                  <c:v>2.2062057E-2</c:v>
                </c:pt>
                <c:pt idx="26">
                  <c:v>2.3142909E-2</c:v>
                </c:pt>
                <c:pt idx="27">
                  <c:v>2.4324907E-2</c:v>
                </c:pt>
                <c:pt idx="28">
                  <c:v>2.5337163999999999E-2</c:v>
                </c:pt>
                <c:pt idx="29">
                  <c:v>2.6128992E-2</c:v>
                </c:pt>
                <c:pt idx="30">
                  <c:v>2.6824629999999999E-2</c:v>
                </c:pt>
                <c:pt idx="31">
                  <c:v>2.6905502000000001E-2</c:v>
                </c:pt>
                <c:pt idx="32">
                  <c:v>2.6984573000000001E-2</c:v>
                </c:pt>
                <c:pt idx="33">
                  <c:v>2.7429144999999999E-2</c:v>
                </c:pt>
                <c:pt idx="34">
                  <c:v>2.7892865999999999E-2</c:v>
                </c:pt>
                <c:pt idx="35">
                  <c:v>2.8386774E-2</c:v>
                </c:pt>
                <c:pt idx="36">
                  <c:v>2.8936773999999998E-2</c:v>
                </c:pt>
                <c:pt idx="37">
                  <c:v>2.9549511000000001E-2</c:v>
                </c:pt>
                <c:pt idx="38">
                  <c:v>2.9643675000000001E-2</c:v>
                </c:pt>
                <c:pt idx="39">
                  <c:v>2.9739076999999999E-2</c:v>
                </c:pt>
                <c:pt idx="40">
                  <c:v>3.0193787E-2</c:v>
                </c:pt>
                <c:pt idx="41">
                  <c:v>3.0769693000000001E-2</c:v>
                </c:pt>
                <c:pt idx="42">
                  <c:v>3.1387499999999999E-2</c:v>
                </c:pt>
                <c:pt idx="43">
                  <c:v>3.2097893000000002E-2</c:v>
                </c:pt>
                <c:pt idx="44">
                  <c:v>3.2854579000000002E-2</c:v>
                </c:pt>
                <c:pt idx="45">
                  <c:v>3.3033331999999999E-2</c:v>
                </c:pt>
                <c:pt idx="46">
                  <c:v>3.3144616000000002E-2</c:v>
                </c:pt>
                <c:pt idx="47">
                  <c:v>3.3859176999999997E-2</c:v>
                </c:pt>
                <c:pt idx="48">
                  <c:v>3.4837979999999998E-2</c:v>
                </c:pt>
                <c:pt idx="49">
                  <c:v>3.5926716999999997E-2</c:v>
                </c:pt>
                <c:pt idx="50">
                  <c:v>3.7308193000000003E-2</c:v>
                </c:pt>
                <c:pt idx="51">
                  <c:v>3.8635266000000001E-2</c:v>
                </c:pt>
                <c:pt idx="52">
                  <c:v>3.8852878E-2</c:v>
                </c:pt>
                <c:pt idx="53">
                  <c:v>3.8967992E-2</c:v>
                </c:pt>
                <c:pt idx="54">
                  <c:v>4.0103246000000002E-2</c:v>
                </c:pt>
                <c:pt idx="55">
                  <c:v>4.1551514999999997E-2</c:v>
                </c:pt>
                <c:pt idx="56">
                  <c:v>4.3105437000000003E-2</c:v>
                </c:pt>
                <c:pt idx="57">
                  <c:v>4.5123755000000002E-2</c:v>
                </c:pt>
                <c:pt idx="58">
                  <c:v>4.6934935999999997E-2</c:v>
                </c:pt>
                <c:pt idx="59">
                  <c:v>4.7265409000000001E-2</c:v>
                </c:pt>
                <c:pt idx="60">
                  <c:v>4.7529426999999999E-2</c:v>
                </c:pt>
                <c:pt idx="61">
                  <c:v>4.9706224E-2</c:v>
                </c:pt>
                <c:pt idx="62">
                  <c:v>5.2755045E-2</c:v>
                </c:pt>
                <c:pt idx="63">
                  <c:v>5.6195501000000002E-2</c:v>
                </c:pt>
                <c:pt idx="64">
                  <c:v>5.9916194999999998E-2</c:v>
                </c:pt>
                <c:pt idx="65">
                  <c:v>6.3134533000000007E-2</c:v>
                </c:pt>
                <c:pt idx="66">
                  <c:v>6.4483908000000006E-2</c:v>
                </c:pt>
                <c:pt idx="67">
                  <c:v>6.5760294999999996E-2</c:v>
                </c:pt>
                <c:pt idx="68">
                  <c:v>6.9084285999999995E-2</c:v>
                </c:pt>
                <c:pt idx="69">
                  <c:v>7.3141196000000006E-2</c:v>
                </c:pt>
                <c:pt idx="70">
                  <c:v>7.7747768999999994E-2</c:v>
                </c:pt>
                <c:pt idx="71">
                  <c:v>8.2749805999999995E-2</c:v>
                </c:pt>
                <c:pt idx="72">
                  <c:v>8.7078280999999993E-2</c:v>
                </c:pt>
                <c:pt idx="73">
                  <c:v>8.8990270999999996E-2</c:v>
                </c:pt>
                <c:pt idx="74">
                  <c:v>9.0344601999999996E-2</c:v>
                </c:pt>
                <c:pt idx="75">
                  <c:v>9.3516422000000002E-2</c:v>
                </c:pt>
                <c:pt idx="76">
                  <c:v>9.7865172E-2</c:v>
                </c:pt>
                <c:pt idx="77">
                  <c:v>0.102054992</c:v>
                </c:pt>
                <c:pt idx="78">
                  <c:v>0.106289192</c:v>
                </c:pt>
                <c:pt idx="79">
                  <c:v>0.11012635</c:v>
                </c:pt>
                <c:pt idx="80">
                  <c:v>0.111812618</c:v>
                </c:pt>
                <c:pt idx="81">
                  <c:v>0.11263970199999999</c:v>
                </c:pt>
                <c:pt idx="82">
                  <c:v>0.115355122</c:v>
                </c:pt>
                <c:pt idx="83">
                  <c:v>0.118314399</c:v>
                </c:pt>
                <c:pt idx="84">
                  <c:v>0.121304988</c:v>
                </c:pt>
                <c:pt idx="85">
                  <c:v>0.124241512</c:v>
                </c:pt>
                <c:pt idx="86">
                  <c:v>0.12700435099999999</c:v>
                </c:pt>
                <c:pt idx="87">
                  <c:v>0.127950603</c:v>
                </c:pt>
                <c:pt idx="88">
                  <c:v>0.12856705800000001</c:v>
                </c:pt>
                <c:pt idx="89">
                  <c:v>0.13068415799999999</c:v>
                </c:pt>
                <c:pt idx="90">
                  <c:v>0.133438212</c:v>
                </c:pt>
                <c:pt idx="91">
                  <c:v>0.13602500200000001</c:v>
                </c:pt>
                <c:pt idx="92">
                  <c:v>0.13888414600000001</c:v>
                </c:pt>
                <c:pt idx="93">
                  <c:v>0.139643986</c:v>
                </c:pt>
                <c:pt idx="94">
                  <c:v>0.14004091399999999</c:v>
                </c:pt>
                <c:pt idx="95">
                  <c:v>0.14031822299999999</c:v>
                </c:pt>
                <c:pt idx="96">
                  <c:v>0.14057863600000001</c:v>
                </c:pt>
                <c:pt idx="97">
                  <c:v>0.14238553700000001</c:v>
                </c:pt>
                <c:pt idx="98">
                  <c:v>0.14499891000000001</c:v>
                </c:pt>
                <c:pt idx="99">
                  <c:v>0.14928435800000001</c:v>
                </c:pt>
                <c:pt idx="100">
                  <c:v>0.153642907</c:v>
                </c:pt>
                <c:pt idx="101">
                  <c:v>0.15536319100000001</c:v>
                </c:pt>
                <c:pt idx="102">
                  <c:v>0.15645373000000001</c:v>
                </c:pt>
                <c:pt idx="103">
                  <c:v>0.16070538700000001</c:v>
                </c:pt>
                <c:pt idx="104">
                  <c:v>0.164735941</c:v>
                </c:pt>
                <c:pt idx="105">
                  <c:v>0.16906531799999999</c:v>
                </c:pt>
                <c:pt idx="106">
                  <c:v>0.17440526100000001</c:v>
                </c:pt>
                <c:pt idx="107">
                  <c:v>0.17938522100000001</c:v>
                </c:pt>
                <c:pt idx="108">
                  <c:v>0.1812463</c:v>
                </c:pt>
                <c:pt idx="109">
                  <c:v>0.182668776</c:v>
                </c:pt>
                <c:pt idx="110">
                  <c:v>0.18756921500000001</c:v>
                </c:pt>
                <c:pt idx="111">
                  <c:v>0.19228335399999999</c:v>
                </c:pt>
                <c:pt idx="112">
                  <c:v>0.19761045699999999</c:v>
                </c:pt>
                <c:pt idx="113">
                  <c:v>0.20368365899999999</c:v>
                </c:pt>
                <c:pt idx="114">
                  <c:v>0.209255406</c:v>
                </c:pt>
                <c:pt idx="115">
                  <c:v>0.21123565399999999</c:v>
                </c:pt>
                <c:pt idx="116">
                  <c:v>0.212866843</c:v>
                </c:pt>
                <c:pt idx="117">
                  <c:v>0.21838734100000001</c:v>
                </c:pt>
                <c:pt idx="118">
                  <c:v>0.22384284900000001</c:v>
                </c:pt>
                <c:pt idx="119">
                  <c:v>0.23040939499999999</c:v>
                </c:pt>
                <c:pt idx="120">
                  <c:v>0.23771088800000001</c:v>
                </c:pt>
                <c:pt idx="121">
                  <c:v>0.24464327399999999</c:v>
                </c:pt>
                <c:pt idx="122">
                  <c:v>0.24679923300000001</c:v>
                </c:pt>
                <c:pt idx="123">
                  <c:v>0.24891194</c:v>
                </c:pt>
                <c:pt idx="124">
                  <c:v>0.25641842999999997</c:v>
                </c:pt>
                <c:pt idx="125">
                  <c:v>0.26381847899999999</c:v>
                </c:pt>
                <c:pt idx="126">
                  <c:v>0.27197881899999998</c:v>
                </c:pt>
                <c:pt idx="127">
                  <c:v>0.280936619</c:v>
                </c:pt>
                <c:pt idx="128">
                  <c:v>0.28956394699999999</c:v>
                </c:pt>
                <c:pt idx="129">
                  <c:v>0.29285335800000001</c:v>
                </c:pt>
                <c:pt idx="130">
                  <c:v>0.29555852900000001</c:v>
                </c:pt>
                <c:pt idx="131">
                  <c:v>0.30366198799999999</c:v>
                </c:pt>
                <c:pt idx="132">
                  <c:v>0.31214412800000002</c:v>
                </c:pt>
                <c:pt idx="133">
                  <c:v>0.32105124200000001</c:v>
                </c:pt>
                <c:pt idx="134">
                  <c:v>0.33042342899999999</c:v>
                </c:pt>
                <c:pt idx="135">
                  <c:v>0.33926836799999999</c:v>
                </c:pt>
                <c:pt idx="136">
                  <c:v>0.34282844299999998</c:v>
                </c:pt>
                <c:pt idx="137">
                  <c:v>0.34571450599999998</c:v>
                </c:pt>
                <c:pt idx="138">
                  <c:v>0.35381199600000002</c:v>
                </c:pt>
                <c:pt idx="139">
                  <c:v>0.36184607099999999</c:v>
                </c:pt>
                <c:pt idx="140">
                  <c:v>0.37047959400000002</c:v>
                </c:pt>
                <c:pt idx="141">
                  <c:v>0.378882889</c:v>
                </c:pt>
                <c:pt idx="142">
                  <c:v>0.38655270000000003</c:v>
                </c:pt>
                <c:pt idx="143">
                  <c:v>0.39014690400000002</c:v>
                </c:pt>
                <c:pt idx="144">
                  <c:v>0.392638404</c:v>
                </c:pt>
                <c:pt idx="145">
                  <c:v>0.39788441000000002</c:v>
                </c:pt>
                <c:pt idx="146">
                  <c:v>0.40366543399999999</c:v>
                </c:pt>
                <c:pt idx="147">
                  <c:v>0.41118397600000001</c:v>
                </c:pt>
                <c:pt idx="148">
                  <c:v>0.417880841</c:v>
                </c:pt>
                <c:pt idx="149">
                  <c:v>0.424544592</c:v>
                </c:pt>
                <c:pt idx="150">
                  <c:v>0.427663923</c:v>
                </c:pt>
                <c:pt idx="151">
                  <c:v>0.430021274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005-47BD-86A2-07876A38B6EF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Sloupec3</c:v>
                </c:pt>
              </c:strCache>
            </c:strRef>
          </c:tx>
          <c:spPr>
            <a:ln w="952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numRef>
              <c:f>List1!$A$5:$A$187</c:f>
              <c:numCache>
                <c:formatCode>dd/mm/yy;@</c:formatCode>
                <c:ptCount val="183"/>
                <c:pt idx="0">
                  <c:v>44195</c:v>
                </c:pt>
                <c:pt idx="1">
                  <c:v>44196</c:v>
                </c:pt>
                <c:pt idx="2">
                  <c:v>44197</c:v>
                </c:pt>
                <c:pt idx="3">
                  <c:v>44198</c:v>
                </c:pt>
                <c:pt idx="4">
                  <c:v>44199</c:v>
                </c:pt>
                <c:pt idx="5">
                  <c:v>44200</c:v>
                </c:pt>
                <c:pt idx="6">
                  <c:v>44201</c:v>
                </c:pt>
                <c:pt idx="7">
                  <c:v>44202</c:v>
                </c:pt>
                <c:pt idx="8">
                  <c:v>44203</c:v>
                </c:pt>
                <c:pt idx="9">
                  <c:v>44204</c:v>
                </c:pt>
                <c:pt idx="10">
                  <c:v>44205</c:v>
                </c:pt>
                <c:pt idx="11">
                  <c:v>44206</c:v>
                </c:pt>
                <c:pt idx="12">
                  <c:v>44207</c:v>
                </c:pt>
                <c:pt idx="13">
                  <c:v>44208</c:v>
                </c:pt>
                <c:pt idx="14">
                  <c:v>44209</c:v>
                </c:pt>
                <c:pt idx="15">
                  <c:v>44210</c:v>
                </c:pt>
                <c:pt idx="16">
                  <c:v>44211</c:v>
                </c:pt>
                <c:pt idx="17">
                  <c:v>44212</c:v>
                </c:pt>
                <c:pt idx="18">
                  <c:v>44213</c:v>
                </c:pt>
                <c:pt idx="19">
                  <c:v>44214</c:v>
                </c:pt>
                <c:pt idx="20">
                  <c:v>44215</c:v>
                </c:pt>
                <c:pt idx="21">
                  <c:v>44216</c:v>
                </c:pt>
                <c:pt idx="22">
                  <c:v>44217</c:v>
                </c:pt>
                <c:pt idx="23">
                  <c:v>44218</c:v>
                </c:pt>
                <c:pt idx="24">
                  <c:v>44219</c:v>
                </c:pt>
                <c:pt idx="25">
                  <c:v>44220</c:v>
                </c:pt>
                <c:pt idx="26">
                  <c:v>44221</c:v>
                </c:pt>
                <c:pt idx="27">
                  <c:v>44222</c:v>
                </c:pt>
                <c:pt idx="28">
                  <c:v>44223</c:v>
                </c:pt>
                <c:pt idx="29">
                  <c:v>44224</c:v>
                </c:pt>
                <c:pt idx="30">
                  <c:v>44225</c:v>
                </c:pt>
                <c:pt idx="31">
                  <c:v>44226</c:v>
                </c:pt>
                <c:pt idx="32">
                  <c:v>44227</c:v>
                </c:pt>
                <c:pt idx="33">
                  <c:v>44228</c:v>
                </c:pt>
                <c:pt idx="34">
                  <c:v>44229</c:v>
                </c:pt>
                <c:pt idx="35">
                  <c:v>44230</c:v>
                </c:pt>
                <c:pt idx="36">
                  <c:v>44231</c:v>
                </c:pt>
                <c:pt idx="37">
                  <c:v>44232</c:v>
                </c:pt>
                <c:pt idx="38">
                  <c:v>44233</c:v>
                </c:pt>
                <c:pt idx="39">
                  <c:v>44234</c:v>
                </c:pt>
                <c:pt idx="40">
                  <c:v>44235</c:v>
                </c:pt>
                <c:pt idx="41">
                  <c:v>44236</c:v>
                </c:pt>
                <c:pt idx="42">
                  <c:v>44237</c:v>
                </c:pt>
                <c:pt idx="43">
                  <c:v>44238</c:v>
                </c:pt>
                <c:pt idx="44">
                  <c:v>44239</c:v>
                </c:pt>
                <c:pt idx="45">
                  <c:v>44240</c:v>
                </c:pt>
                <c:pt idx="46">
                  <c:v>44241</c:v>
                </c:pt>
                <c:pt idx="47">
                  <c:v>44242</c:v>
                </c:pt>
                <c:pt idx="48">
                  <c:v>44243</c:v>
                </c:pt>
                <c:pt idx="49">
                  <c:v>44244</c:v>
                </c:pt>
                <c:pt idx="50">
                  <c:v>44245</c:v>
                </c:pt>
                <c:pt idx="51">
                  <c:v>44246</c:v>
                </c:pt>
                <c:pt idx="52">
                  <c:v>44247</c:v>
                </c:pt>
                <c:pt idx="53">
                  <c:v>44248</c:v>
                </c:pt>
                <c:pt idx="54">
                  <c:v>44249</c:v>
                </c:pt>
                <c:pt idx="55">
                  <c:v>44250</c:v>
                </c:pt>
                <c:pt idx="56">
                  <c:v>44251</c:v>
                </c:pt>
                <c:pt idx="57">
                  <c:v>44252</c:v>
                </c:pt>
                <c:pt idx="58">
                  <c:v>44253</c:v>
                </c:pt>
                <c:pt idx="59">
                  <c:v>44254</c:v>
                </c:pt>
                <c:pt idx="60">
                  <c:v>44255</c:v>
                </c:pt>
                <c:pt idx="61">
                  <c:v>44256</c:v>
                </c:pt>
                <c:pt idx="62">
                  <c:v>44257</c:v>
                </c:pt>
                <c:pt idx="63">
                  <c:v>44258</c:v>
                </c:pt>
                <c:pt idx="64">
                  <c:v>44259</c:v>
                </c:pt>
                <c:pt idx="65">
                  <c:v>44260</c:v>
                </c:pt>
                <c:pt idx="66">
                  <c:v>44261</c:v>
                </c:pt>
                <c:pt idx="67">
                  <c:v>44262</c:v>
                </c:pt>
                <c:pt idx="68">
                  <c:v>44263</c:v>
                </c:pt>
                <c:pt idx="69">
                  <c:v>44264</c:v>
                </c:pt>
                <c:pt idx="70">
                  <c:v>44265</c:v>
                </c:pt>
                <c:pt idx="71">
                  <c:v>44266</c:v>
                </c:pt>
                <c:pt idx="72">
                  <c:v>44267</c:v>
                </c:pt>
                <c:pt idx="73">
                  <c:v>44268</c:v>
                </c:pt>
                <c:pt idx="74">
                  <c:v>44269</c:v>
                </c:pt>
                <c:pt idx="75">
                  <c:v>44270</c:v>
                </c:pt>
                <c:pt idx="76">
                  <c:v>44271</c:v>
                </c:pt>
                <c:pt idx="77">
                  <c:v>44272</c:v>
                </c:pt>
                <c:pt idx="78">
                  <c:v>44273</c:v>
                </c:pt>
                <c:pt idx="79">
                  <c:v>44274</c:v>
                </c:pt>
                <c:pt idx="80">
                  <c:v>44275</c:v>
                </c:pt>
                <c:pt idx="81">
                  <c:v>44276</c:v>
                </c:pt>
                <c:pt idx="82">
                  <c:v>44277</c:v>
                </c:pt>
                <c:pt idx="83">
                  <c:v>44278</c:v>
                </c:pt>
                <c:pt idx="84">
                  <c:v>44279</c:v>
                </c:pt>
                <c:pt idx="85">
                  <c:v>44280</c:v>
                </c:pt>
                <c:pt idx="86">
                  <c:v>44281</c:v>
                </c:pt>
                <c:pt idx="87">
                  <c:v>44282</c:v>
                </c:pt>
                <c:pt idx="88">
                  <c:v>44283</c:v>
                </c:pt>
                <c:pt idx="89">
                  <c:v>44284</c:v>
                </c:pt>
                <c:pt idx="90">
                  <c:v>44285</c:v>
                </c:pt>
                <c:pt idx="91">
                  <c:v>44286</c:v>
                </c:pt>
                <c:pt idx="92">
                  <c:v>44287</c:v>
                </c:pt>
                <c:pt idx="93">
                  <c:v>44288</c:v>
                </c:pt>
                <c:pt idx="94">
                  <c:v>44289</c:v>
                </c:pt>
                <c:pt idx="95">
                  <c:v>44290</c:v>
                </c:pt>
                <c:pt idx="96">
                  <c:v>44291</c:v>
                </c:pt>
                <c:pt idx="97">
                  <c:v>44292</c:v>
                </c:pt>
                <c:pt idx="98">
                  <c:v>44293</c:v>
                </c:pt>
                <c:pt idx="99">
                  <c:v>44294</c:v>
                </c:pt>
                <c:pt idx="100">
                  <c:v>44295</c:v>
                </c:pt>
                <c:pt idx="101">
                  <c:v>44296</c:v>
                </c:pt>
                <c:pt idx="102">
                  <c:v>44297</c:v>
                </c:pt>
                <c:pt idx="103">
                  <c:v>44298</c:v>
                </c:pt>
                <c:pt idx="104">
                  <c:v>44299</c:v>
                </c:pt>
                <c:pt idx="105">
                  <c:v>44300</c:v>
                </c:pt>
                <c:pt idx="106">
                  <c:v>44301</c:v>
                </c:pt>
                <c:pt idx="107">
                  <c:v>44302</c:v>
                </c:pt>
                <c:pt idx="108">
                  <c:v>44303</c:v>
                </c:pt>
                <c:pt idx="109">
                  <c:v>44304</c:v>
                </c:pt>
                <c:pt idx="110">
                  <c:v>44305</c:v>
                </c:pt>
                <c:pt idx="111">
                  <c:v>44306</c:v>
                </c:pt>
                <c:pt idx="112">
                  <c:v>44307</c:v>
                </c:pt>
                <c:pt idx="113">
                  <c:v>44308</c:v>
                </c:pt>
                <c:pt idx="114">
                  <c:v>44309</c:v>
                </c:pt>
                <c:pt idx="115">
                  <c:v>44310</c:v>
                </c:pt>
                <c:pt idx="116">
                  <c:v>44311</c:v>
                </c:pt>
                <c:pt idx="117">
                  <c:v>44312</c:v>
                </c:pt>
                <c:pt idx="118">
                  <c:v>44313</c:v>
                </c:pt>
                <c:pt idx="119">
                  <c:v>44314</c:v>
                </c:pt>
                <c:pt idx="120">
                  <c:v>44315</c:v>
                </c:pt>
                <c:pt idx="121">
                  <c:v>44316</c:v>
                </c:pt>
                <c:pt idx="122">
                  <c:v>44317</c:v>
                </c:pt>
                <c:pt idx="123">
                  <c:v>44318</c:v>
                </c:pt>
                <c:pt idx="124">
                  <c:v>44319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4</c:v>
                </c:pt>
                <c:pt idx="130">
                  <c:v>44325</c:v>
                </c:pt>
                <c:pt idx="131">
                  <c:v>44326</c:v>
                </c:pt>
                <c:pt idx="132">
                  <c:v>44327</c:v>
                </c:pt>
                <c:pt idx="133">
                  <c:v>44328</c:v>
                </c:pt>
                <c:pt idx="134">
                  <c:v>44329</c:v>
                </c:pt>
                <c:pt idx="135">
                  <c:v>44330</c:v>
                </c:pt>
                <c:pt idx="136">
                  <c:v>44331</c:v>
                </c:pt>
                <c:pt idx="137">
                  <c:v>44332</c:v>
                </c:pt>
                <c:pt idx="138">
                  <c:v>44333</c:v>
                </c:pt>
                <c:pt idx="139">
                  <c:v>44334</c:v>
                </c:pt>
                <c:pt idx="140">
                  <c:v>44335</c:v>
                </c:pt>
                <c:pt idx="141">
                  <c:v>44336</c:v>
                </c:pt>
                <c:pt idx="142">
                  <c:v>44337</c:v>
                </c:pt>
                <c:pt idx="143">
                  <c:v>44338</c:v>
                </c:pt>
                <c:pt idx="144">
                  <c:v>44339</c:v>
                </c:pt>
                <c:pt idx="145">
                  <c:v>44340</c:v>
                </c:pt>
                <c:pt idx="146">
                  <c:v>44341</c:v>
                </c:pt>
                <c:pt idx="147">
                  <c:v>44342</c:v>
                </c:pt>
                <c:pt idx="148">
                  <c:v>44343</c:v>
                </c:pt>
                <c:pt idx="149">
                  <c:v>44344</c:v>
                </c:pt>
                <c:pt idx="150">
                  <c:v>44345</c:v>
                </c:pt>
                <c:pt idx="151">
                  <c:v>44346</c:v>
                </c:pt>
                <c:pt idx="152">
                  <c:v>44347</c:v>
                </c:pt>
                <c:pt idx="153">
                  <c:v>44348</c:v>
                </c:pt>
                <c:pt idx="154">
                  <c:v>44349</c:v>
                </c:pt>
                <c:pt idx="155">
                  <c:v>44350</c:v>
                </c:pt>
                <c:pt idx="156">
                  <c:v>44351</c:v>
                </c:pt>
                <c:pt idx="157">
                  <c:v>44352</c:v>
                </c:pt>
                <c:pt idx="158">
                  <c:v>44353</c:v>
                </c:pt>
                <c:pt idx="159">
                  <c:v>44354</c:v>
                </c:pt>
                <c:pt idx="160">
                  <c:v>44355</c:v>
                </c:pt>
                <c:pt idx="161">
                  <c:v>44356</c:v>
                </c:pt>
                <c:pt idx="162">
                  <c:v>44357</c:v>
                </c:pt>
                <c:pt idx="163">
                  <c:v>44358</c:v>
                </c:pt>
                <c:pt idx="164">
                  <c:v>44359</c:v>
                </c:pt>
                <c:pt idx="165">
                  <c:v>44360</c:v>
                </c:pt>
                <c:pt idx="166">
                  <c:v>44361</c:v>
                </c:pt>
                <c:pt idx="167">
                  <c:v>44362</c:v>
                </c:pt>
                <c:pt idx="168">
                  <c:v>44363</c:v>
                </c:pt>
                <c:pt idx="169">
                  <c:v>44364</c:v>
                </c:pt>
                <c:pt idx="170">
                  <c:v>44365</c:v>
                </c:pt>
                <c:pt idx="171">
                  <c:v>44366</c:v>
                </c:pt>
                <c:pt idx="172">
                  <c:v>44367</c:v>
                </c:pt>
                <c:pt idx="173">
                  <c:v>44368</c:v>
                </c:pt>
                <c:pt idx="174">
                  <c:v>44369</c:v>
                </c:pt>
                <c:pt idx="175">
                  <c:v>44370</c:v>
                </c:pt>
                <c:pt idx="176">
                  <c:v>44371</c:v>
                </c:pt>
                <c:pt idx="177">
                  <c:v>44372</c:v>
                </c:pt>
                <c:pt idx="178">
                  <c:v>44373</c:v>
                </c:pt>
                <c:pt idx="179">
                  <c:v>44374</c:v>
                </c:pt>
                <c:pt idx="180">
                  <c:v>44375</c:v>
                </c:pt>
                <c:pt idx="181">
                  <c:v>44376</c:v>
                </c:pt>
                <c:pt idx="182">
                  <c:v>44377</c:v>
                </c:pt>
              </c:numCache>
            </c:numRef>
          </c:cat>
          <c:val>
            <c:numRef>
              <c:f>List1!$E$5:$E$187</c:f>
              <c:numCache>
                <c:formatCode>General</c:formatCode>
                <c:ptCount val="18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 formatCode="0.00E+00">
                  <c:v>2.2527100000000001E-7</c:v>
                </c:pt>
                <c:pt idx="18" formatCode="0.00E+00">
                  <c:v>7.1523600000000001E-5</c:v>
                </c:pt>
                <c:pt idx="19">
                  <c:v>2.7539399999999999E-4</c:v>
                </c:pt>
                <c:pt idx="20">
                  <c:v>5.7939799999999996E-4</c:v>
                </c:pt>
                <c:pt idx="21">
                  <c:v>8.7540399999999998E-4</c:v>
                </c:pt>
                <c:pt idx="22">
                  <c:v>1.0691380000000001E-3</c:v>
                </c:pt>
                <c:pt idx="23">
                  <c:v>1.1857149999999999E-3</c:v>
                </c:pt>
                <c:pt idx="24">
                  <c:v>1.283258E-3</c:v>
                </c:pt>
                <c:pt idx="25">
                  <c:v>1.3804620000000001E-3</c:v>
                </c:pt>
                <c:pt idx="26">
                  <c:v>1.7129630000000001E-3</c:v>
                </c:pt>
                <c:pt idx="27">
                  <c:v>2.15855E-3</c:v>
                </c:pt>
                <c:pt idx="28">
                  <c:v>2.6647340000000002E-3</c:v>
                </c:pt>
                <c:pt idx="29">
                  <c:v>3.350347E-3</c:v>
                </c:pt>
                <c:pt idx="30">
                  <c:v>4.2301439999999999E-3</c:v>
                </c:pt>
                <c:pt idx="31">
                  <c:v>4.3520160000000002E-3</c:v>
                </c:pt>
                <c:pt idx="32">
                  <c:v>4.484025E-3</c:v>
                </c:pt>
                <c:pt idx="33">
                  <c:v>5.3719320000000003E-3</c:v>
                </c:pt>
                <c:pt idx="34">
                  <c:v>6.5167610000000003E-3</c:v>
                </c:pt>
                <c:pt idx="35">
                  <c:v>7.7502339999999999E-3</c:v>
                </c:pt>
                <c:pt idx="36">
                  <c:v>9.20436E-3</c:v>
                </c:pt>
                <c:pt idx="37">
                  <c:v>1.040055E-2</c:v>
                </c:pt>
                <c:pt idx="38">
                  <c:v>1.0663779999999999E-2</c:v>
                </c:pt>
                <c:pt idx="39">
                  <c:v>1.0942666E-2</c:v>
                </c:pt>
                <c:pt idx="40">
                  <c:v>1.2220854999999999E-2</c:v>
                </c:pt>
                <c:pt idx="41">
                  <c:v>1.3560656000000001E-2</c:v>
                </c:pt>
                <c:pt idx="42">
                  <c:v>1.5044293E-2</c:v>
                </c:pt>
                <c:pt idx="43">
                  <c:v>1.6858966E-2</c:v>
                </c:pt>
                <c:pt idx="44">
                  <c:v>1.8507613999999999E-2</c:v>
                </c:pt>
                <c:pt idx="45">
                  <c:v>1.8842253999999999E-2</c:v>
                </c:pt>
                <c:pt idx="46">
                  <c:v>1.899634E-2</c:v>
                </c:pt>
                <c:pt idx="47">
                  <c:v>2.0044414E-2</c:v>
                </c:pt>
                <c:pt idx="48">
                  <c:v>2.1059712000000001E-2</c:v>
                </c:pt>
                <c:pt idx="49">
                  <c:v>2.1988279999999999E-2</c:v>
                </c:pt>
                <c:pt idx="50">
                  <c:v>2.2887451E-2</c:v>
                </c:pt>
                <c:pt idx="51">
                  <c:v>2.3708452000000001E-2</c:v>
                </c:pt>
                <c:pt idx="52">
                  <c:v>2.3839447E-2</c:v>
                </c:pt>
                <c:pt idx="53">
                  <c:v>2.3952759000000001E-2</c:v>
                </c:pt>
                <c:pt idx="54">
                  <c:v>2.4627221000000001E-2</c:v>
                </c:pt>
                <c:pt idx="55">
                  <c:v>2.5408011000000001E-2</c:v>
                </c:pt>
                <c:pt idx="56">
                  <c:v>2.6083037E-2</c:v>
                </c:pt>
                <c:pt idx="57">
                  <c:v>2.6703884000000001E-2</c:v>
                </c:pt>
                <c:pt idx="58">
                  <c:v>2.7302317999999999E-2</c:v>
                </c:pt>
                <c:pt idx="59">
                  <c:v>2.7364042000000002E-2</c:v>
                </c:pt>
                <c:pt idx="60">
                  <c:v>2.7425654000000001E-2</c:v>
                </c:pt>
                <c:pt idx="61">
                  <c:v>2.7807150999999999E-2</c:v>
                </c:pt>
                <c:pt idx="62">
                  <c:v>2.8203966E-2</c:v>
                </c:pt>
                <c:pt idx="63">
                  <c:v>2.870756E-2</c:v>
                </c:pt>
                <c:pt idx="64">
                  <c:v>2.9231091000000001E-2</c:v>
                </c:pt>
                <c:pt idx="65">
                  <c:v>2.9834592E-2</c:v>
                </c:pt>
                <c:pt idx="66">
                  <c:v>2.9928756000000001E-2</c:v>
                </c:pt>
                <c:pt idx="67">
                  <c:v>3.0022018000000001E-2</c:v>
                </c:pt>
                <c:pt idx="68">
                  <c:v>3.0563795000000001E-2</c:v>
                </c:pt>
                <c:pt idx="69">
                  <c:v>3.1277003999999997E-2</c:v>
                </c:pt>
                <c:pt idx="70">
                  <c:v>3.2055203999999997E-2</c:v>
                </c:pt>
                <c:pt idx="71">
                  <c:v>3.2991432000000001E-2</c:v>
                </c:pt>
                <c:pt idx="72">
                  <c:v>3.3937346E-2</c:v>
                </c:pt>
                <c:pt idx="73">
                  <c:v>3.4081857E-2</c:v>
                </c:pt>
                <c:pt idx="74">
                  <c:v>3.4208685000000003E-2</c:v>
                </c:pt>
                <c:pt idx="75">
                  <c:v>3.5193346E-2</c:v>
                </c:pt>
                <c:pt idx="76">
                  <c:v>3.6371626999999997E-2</c:v>
                </c:pt>
                <c:pt idx="77">
                  <c:v>3.7547994000000001E-2</c:v>
                </c:pt>
                <c:pt idx="78">
                  <c:v>3.8939494999999998E-2</c:v>
                </c:pt>
                <c:pt idx="79">
                  <c:v>4.0463455000000002E-2</c:v>
                </c:pt>
                <c:pt idx="80">
                  <c:v>4.0689402E-2</c:v>
                </c:pt>
                <c:pt idx="81">
                  <c:v>4.0861735000000003E-2</c:v>
                </c:pt>
                <c:pt idx="82">
                  <c:v>4.2256388999999998E-2</c:v>
                </c:pt>
                <c:pt idx="83">
                  <c:v>4.3747797999999997E-2</c:v>
                </c:pt>
                <c:pt idx="84">
                  <c:v>4.5508292999999998E-2</c:v>
                </c:pt>
                <c:pt idx="85">
                  <c:v>4.7511743000000002E-2</c:v>
                </c:pt>
                <c:pt idx="86">
                  <c:v>4.9472843000000002E-2</c:v>
                </c:pt>
                <c:pt idx="87">
                  <c:v>5.0014507E-2</c:v>
                </c:pt>
                <c:pt idx="88">
                  <c:v>5.0477439999999998E-2</c:v>
                </c:pt>
                <c:pt idx="89">
                  <c:v>5.279582E-2</c:v>
                </c:pt>
                <c:pt idx="90">
                  <c:v>5.5280561999999998E-2</c:v>
                </c:pt>
                <c:pt idx="91">
                  <c:v>5.8314966000000003E-2</c:v>
                </c:pt>
                <c:pt idx="92">
                  <c:v>6.1902411999999997E-2</c:v>
                </c:pt>
                <c:pt idx="93">
                  <c:v>6.3333335000000004E-2</c:v>
                </c:pt>
                <c:pt idx="94">
                  <c:v>6.4558359999999995E-2</c:v>
                </c:pt>
                <c:pt idx="95">
                  <c:v>6.5541895000000003E-2</c:v>
                </c:pt>
                <c:pt idx="96">
                  <c:v>6.6346225999999994E-2</c:v>
                </c:pt>
                <c:pt idx="97">
                  <c:v>6.9628091000000003E-2</c:v>
                </c:pt>
                <c:pt idx="98">
                  <c:v>7.2110806E-2</c:v>
                </c:pt>
                <c:pt idx="99">
                  <c:v>7.5579307999999998E-2</c:v>
                </c:pt>
                <c:pt idx="100">
                  <c:v>7.8945649000000007E-2</c:v>
                </c:pt>
                <c:pt idx="101">
                  <c:v>8.0656358999999997E-2</c:v>
                </c:pt>
                <c:pt idx="102">
                  <c:v>8.1780575999999994E-2</c:v>
                </c:pt>
                <c:pt idx="103">
                  <c:v>8.4572024999999995E-2</c:v>
                </c:pt>
                <c:pt idx="104">
                  <c:v>8.7477912000000005E-2</c:v>
                </c:pt>
                <c:pt idx="105">
                  <c:v>9.0546331999999993E-2</c:v>
                </c:pt>
                <c:pt idx="106">
                  <c:v>9.3425187000000007E-2</c:v>
                </c:pt>
                <c:pt idx="107">
                  <c:v>9.6300775000000005E-2</c:v>
                </c:pt>
                <c:pt idx="108">
                  <c:v>9.7312243000000007E-2</c:v>
                </c:pt>
                <c:pt idx="109">
                  <c:v>9.7868776000000005E-2</c:v>
                </c:pt>
                <c:pt idx="110">
                  <c:v>9.9593791000000001E-2</c:v>
                </c:pt>
                <c:pt idx="111">
                  <c:v>0.101366451</c:v>
                </c:pt>
                <c:pt idx="112">
                  <c:v>0.102954726</c:v>
                </c:pt>
                <c:pt idx="113">
                  <c:v>0.104900619</c:v>
                </c:pt>
                <c:pt idx="114">
                  <c:v>0.106246277</c:v>
                </c:pt>
                <c:pt idx="115">
                  <c:v>0.106830631</c:v>
                </c:pt>
                <c:pt idx="116">
                  <c:v>0.10727802</c:v>
                </c:pt>
                <c:pt idx="117">
                  <c:v>0.108105441</c:v>
                </c:pt>
                <c:pt idx="118">
                  <c:v>0.109470022</c:v>
                </c:pt>
                <c:pt idx="119">
                  <c:v>0.111033856</c:v>
                </c:pt>
                <c:pt idx="120">
                  <c:v>0.11280043300000001</c:v>
                </c:pt>
                <c:pt idx="121">
                  <c:v>0.113906966</c:v>
                </c:pt>
                <c:pt idx="122">
                  <c:v>0.11428226800000001</c:v>
                </c:pt>
                <c:pt idx="123">
                  <c:v>0.114531981</c:v>
                </c:pt>
                <c:pt idx="124">
                  <c:v>0.115093132</c:v>
                </c:pt>
                <c:pt idx="125">
                  <c:v>0.116019898</c:v>
                </c:pt>
                <c:pt idx="126">
                  <c:v>0.117064819</c:v>
                </c:pt>
                <c:pt idx="127">
                  <c:v>0.118251998</c:v>
                </c:pt>
                <c:pt idx="128">
                  <c:v>0.119368105</c:v>
                </c:pt>
                <c:pt idx="129">
                  <c:v>0.119558685</c:v>
                </c:pt>
                <c:pt idx="130">
                  <c:v>0.119689905</c:v>
                </c:pt>
                <c:pt idx="131">
                  <c:v>0.12048792899999999</c:v>
                </c:pt>
                <c:pt idx="132">
                  <c:v>0.12146887200000001</c:v>
                </c:pt>
                <c:pt idx="133">
                  <c:v>0.122473019</c:v>
                </c:pt>
                <c:pt idx="134">
                  <c:v>0.123491133</c:v>
                </c:pt>
                <c:pt idx="135">
                  <c:v>0.124349529</c:v>
                </c:pt>
                <c:pt idx="136">
                  <c:v>0.12458989400000001</c:v>
                </c:pt>
                <c:pt idx="137">
                  <c:v>0.12472179</c:v>
                </c:pt>
                <c:pt idx="138">
                  <c:v>0.12546664900000001</c:v>
                </c:pt>
                <c:pt idx="139">
                  <c:v>0.12691593200000001</c:v>
                </c:pt>
                <c:pt idx="140">
                  <c:v>0.12860648099999999</c:v>
                </c:pt>
                <c:pt idx="141">
                  <c:v>0.13160281400000001</c:v>
                </c:pt>
                <c:pt idx="142">
                  <c:v>0.13469578900000001</c:v>
                </c:pt>
                <c:pt idx="143">
                  <c:v>0.135936583</c:v>
                </c:pt>
                <c:pt idx="144">
                  <c:v>0.13694084300000001</c:v>
                </c:pt>
                <c:pt idx="145">
                  <c:v>0.140680008</c:v>
                </c:pt>
                <c:pt idx="146">
                  <c:v>0.14464512099999999</c:v>
                </c:pt>
                <c:pt idx="147">
                  <c:v>0.14881286499999999</c:v>
                </c:pt>
                <c:pt idx="148">
                  <c:v>0.154000525</c:v>
                </c:pt>
                <c:pt idx="149">
                  <c:v>0.15907701399999999</c:v>
                </c:pt>
                <c:pt idx="150">
                  <c:v>0.16090880699999999</c:v>
                </c:pt>
                <c:pt idx="151">
                  <c:v>0.162430065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005-47BD-86A2-07876A38B6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31664431"/>
        <c:axId val="711924943"/>
      </c:lineChart>
      <c:dateAx>
        <c:axId val="831664431"/>
        <c:scaling>
          <c:orientation val="minMax"/>
        </c:scaling>
        <c:delete val="0"/>
        <c:axPos val="b"/>
        <c:numFmt formatCode="dd/mm/yy;@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11924943"/>
        <c:crosses val="autoZero"/>
        <c:auto val="1"/>
        <c:lblOffset val="100"/>
        <c:baseTimeUnit val="days"/>
      </c:dateAx>
      <c:valAx>
        <c:axId val="71192494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3166443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900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5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2:$A$127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H$2:$H$127</c:f>
              <c:numCache>
                <c:formatCode>General</c:formatCode>
                <c:ptCount val="126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F5-483F-B422-4E0629062509}"/>
            </c:ext>
          </c:extLst>
        </c:ser>
        <c:ser>
          <c:idx val="7"/>
          <c:order val="6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2:$A$127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I$2:$I$127</c:f>
              <c:numCache>
                <c:formatCode>General</c:formatCode>
                <c:ptCount val="126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EF5-483F-B422-4E06290625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27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B$2:$B$127</c:f>
              <c:numCache>
                <c:formatCode>0</c:formatCode>
                <c:ptCount val="126"/>
                <c:pt idx="0">
                  <c:v>444.85135506000546</c:v>
                </c:pt>
                <c:pt idx="1">
                  <c:v>444.42151990272265</c:v>
                </c:pt>
                <c:pt idx="2">
                  <c:v>455.28887398793677</c:v>
                </c:pt>
                <c:pt idx="3">
                  <c:v>456.20460975780003</c:v>
                </c:pt>
                <c:pt idx="4">
                  <c:v>461.54017225363606</c:v>
                </c:pt>
                <c:pt idx="5">
                  <c:v>468.68851780409926</c:v>
                </c:pt>
                <c:pt idx="6">
                  <c:v>467.54852021304498</c:v>
                </c:pt>
                <c:pt idx="7">
                  <c:v>472.78129604083506</c:v>
                </c:pt>
                <c:pt idx="8">
                  <c:v>483.35897860701078</c:v>
                </c:pt>
                <c:pt idx="9">
                  <c:v>482.16291556065875</c:v>
                </c:pt>
                <c:pt idx="10">
                  <c:v>490.66617628081764</c:v>
                </c:pt>
                <c:pt idx="11">
                  <c:v>492.60043448859005</c:v>
                </c:pt>
                <c:pt idx="12">
                  <c:v>495.59993634701976</c:v>
                </c:pt>
                <c:pt idx="13">
                  <c:v>499.60861640080896</c:v>
                </c:pt>
                <c:pt idx="14">
                  <c:v>510.14892199678616</c:v>
                </c:pt>
                <c:pt idx="15">
                  <c:v>531.88363016721428</c:v>
                </c:pt>
                <c:pt idx="16">
                  <c:v>544.96556973668953</c:v>
                </c:pt>
                <c:pt idx="17">
                  <c:v>570.06420522498274</c:v>
                </c:pt>
                <c:pt idx="18">
                  <c:v>593.03235341196148</c:v>
                </c:pt>
                <c:pt idx="19">
                  <c:v>608.30084573804891</c:v>
                </c:pt>
                <c:pt idx="20">
                  <c:v>619.40180588700366</c:v>
                </c:pt>
                <c:pt idx="21">
                  <c:v>642.80913347381465</c:v>
                </c:pt>
                <c:pt idx="22">
                  <c:v>673.0097253942032</c:v>
                </c:pt>
                <c:pt idx="23">
                  <c:v>699.70622635848235</c:v>
                </c:pt>
                <c:pt idx="24">
                  <c:v>726.65502187160132</c:v>
                </c:pt>
                <c:pt idx="25">
                  <c:v>759.23839564214427</c:v>
                </c:pt>
                <c:pt idx="26">
                  <c:v>769.04050607670115</c:v>
                </c:pt>
                <c:pt idx="27">
                  <c:v>773.89016795995656</c:v>
                </c:pt>
                <c:pt idx="28">
                  <c:v>782.44014989286359</c:v>
                </c:pt>
                <c:pt idx="29">
                  <c:v>791.21439364696153</c:v>
                </c:pt>
                <c:pt idx="30">
                  <c:v>804.68879140352112</c:v>
                </c:pt>
                <c:pt idx="31">
                  <c:v>805.25879019904824</c:v>
                </c:pt>
                <c:pt idx="32">
                  <c:v>790.25193666435018</c:v>
                </c:pt>
                <c:pt idx="33">
                  <c:v>802.45551743416058</c:v>
                </c:pt>
                <c:pt idx="34">
                  <c:v>796.81159493418704</c:v>
                </c:pt>
                <c:pt idx="35">
                  <c:v>781.18802139121385</c:v>
                </c:pt>
                <c:pt idx="36">
                  <c:v>767.93788545584528</c:v>
                </c:pt>
                <c:pt idx="37">
                  <c:v>761.38757142855809</c:v>
                </c:pt>
                <c:pt idx="38">
                  <c:v>729.57976978963404</c:v>
                </c:pt>
                <c:pt idx="39">
                  <c:v>746.31530819601267</c:v>
                </c:pt>
                <c:pt idx="40">
                  <c:v>726.00092489312749</c:v>
                </c:pt>
                <c:pt idx="41">
                  <c:v>719.92716723587125</c:v>
                </c:pt>
                <c:pt idx="42">
                  <c:v>719.71224965722979</c:v>
                </c:pt>
                <c:pt idx="43">
                  <c:v>707.25637433857946</c:v>
                </c:pt>
                <c:pt idx="44">
                  <c:v>683.81166978156989</c:v>
                </c:pt>
                <c:pt idx="45">
                  <c:v>678.35463213258879</c:v>
                </c:pt>
                <c:pt idx="46">
                  <c:v>629.28801450450703</c:v>
                </c:pt>
                <c:pt idx="47">
                  <c:v>615.36509310556551</c:v>
                </c:pt>
                <c:pt idx="48">
                  <c:v>606.56281662381866</c:v>
                </c:pt>
                <c:pt idx="49">
                  <c:v>584.22073268766485</c:v>
                </c:pt>
                <c:pt idx="50">
                  <c:v>555.6273504858118</c:v>
                </c:pt>
                <c:pt idx="51">
                  <c:v>525.91265917800388</c:v>
                </c:pt>
                <c:pt idx="52">
                  <c:v>500.35615580477895</c:v>
                </c:pt>
                <c:pt idx="53">
                  <c:v>481.69570343317747</c:v>
                </c:pt>
                <c:pt idx="54">
                  <c:v>467.70737233638863</c:v>
                </c:pt>
                <c:pt idx="55">
                  <c:v>461.66164740678113</c:v>
                </c:pt>
                <c:pt idx="56">
                  <c:v>449.47675512206996</c:v>
                </c:pt>
                <c:pt idx="57">
                  <c:v>427.62991604104627</c:v>
                </c:pt>
                <c:pt idx="58">
                  <c:v>412.81929159989033</c:v>
                </c:pt>
                <c:pt idx="59">
                  <c:v>397.11161987397048</c:v>
                </c:pt>
                <c:pt idx="60">
                  <c:v>360.9026799941729</c:v>
                </c:pt>
                <c:pt idx="61">
                  <c:v>343.99894522190101</c:v>
                </c:pt>
                <c:pt idx="62">
                  <c:v>345.69025312338317</c:v>
                </c:pt>
                <c:pt idx="63">
                  <c:v>294.14741121965073</c:v>
                </c:pt>
                <c:pt idx="64">
                  <c:v>265.67550417094282</c:v>
                </c:pt>
                <c:pt idx="65">
                  <c:v>263.70386899297193</c:v>
                </c:pt>
                <c:pt idx="66">
                  <c:v>254.69601917513327</c:v>
                </c:pt>
                <c:pt idx="67">
                  <c:v>263.8720653588652</c:v>
                </c:pt>
                <c:pt idx="68">
                  <c:v>264.28321203104866</c:v>
                </c:pt>
                <c:pt idx="69">
                  <c:v>255.49962403440102</c:v>
                </c:pt>
                <c:pt idx="70">
                  <c:v>278.38367403843307</c:v>
                </c:pt>
                <c:pt idx="71">
                  <c:v>273.45925821478056</c:v>
                </c:pt>
                <c:pt idx="72">
                  <c:v>242.27752082668138</c:v>
                </c:pt>
                <c:pt idx="73">
                  <c:v>223.42083936153782</c:v>
                </c:pt>
                <c:pt idx="74">
                  <c:v>208.45136279703829</c:v>
                </c:pt>
                <c:pt idx="75">
                  <c:v>202.25612998663678</c:v>
                </c:pt>
                <c:pt idx="76">
                  <c:v>200.83580511909378</c:v>
                </c:pt>
                <c:pt idx="77">
                  <c:v>195.91138929544132</c:v>
                </c:pt>
                <c:pt idx="78">
                  <c:v>184.31518429135647</c:v>
                </c:pt>
                <c:pt idx="79">
                  <c:v>177.17618298344283</c:v>
                </c:pt>
                <c:pt idx="80">
                  <c:v>171.24258896443087</c:v>
                </c:pt>
                <c:pt idx="81">
                  <c:v>165.48653555386176</c:v>
                </c:pt>
                <c:pt idx="82">
                  <c:v>163.29998279724947</c:v>
                </c:pt>
                <c:pt idx="83">
                  <c:v>163.22522885685245</c:v>
                </c:pt>
                <c:pt idx="84">
                  <c:v>156.1049160340381</c:v>
                </c:pt>
                <c:pt idx="85">
                  <c:v>150.71328808290437</c:v>
                </c:pt>
                <c:pt idx="86">
                  <c:v>146.38690378242791</c:v>
                </c:pt>
                <c:pt idx="87">
                  <c:v>142.64920676257785</c:v>
                </c:pt>
                <c:pt idx="88">
                  <c:v>138.5844612534909</c:v>
                </c:pt>
                <c:pt idx="89">
                  <c:v>137.31364426674187</c:v>
                </c:pt>
                <c:pt idx="90">
                  <c:v>134.35151937851069</c:v>
                </c:pt>
                <c:pt idx="91">
                  <c:v>130.96890357554639</c:v>
                </c:pt>
                <c:pt idx="92">
                  <c:v>123.28793619975448</c:v>
                </c:pt>
                <c:pt idx="93">
                  <c:v>117.54122703173502</c:v>
                </c:pt>
                <c:pt idx="94">
                  <c:v>111.41140391918088</c:v>
                </c:pt>
                <c:pt idx="95">
                  <c:v>106.47764385297882</c:v>
                </c:pt>
                <c:pt idx="96">
                  <c:v>102.31011167584599</c:v>
                </c:pt>
                <c:pt idx="97">
                  <c:v>101.14208135714284</c:v>
                </c:pt>
                <c:pt idx="98">
                  <c:v>94.853406121245101</c:v>
                </c:pt>
                <c:pt idx="99">
                  <c:v>88.069486030217234</c:v>
                </c:pt>
                <c:pt idx="100">
                  <c:v>82.378842317495497</c:v>
                </c:pt>
                <c:pt idx="101">
                  <c:v>79.117701667676315</c:v>
                </c:pt>
                <c:pt idx="102">
                  <c:v>73.632631291046337</c:v>
                </c:pt>
                <c:pt idx="103">
                  <c:v>72.436568244694314</c:v>
                </c:pt>
                <c:pt idx="104">
                  <c:v>71.249849440891921</c:v>
                </c:pt>
                <c:pt idx="105">
                  <c:v>67.371988782797473</c:v>
                </c:pt>
                <c:pt idx="106">
                  <c:v>62.774621448381893</c:v>
                </c:pt>
                <c:pt idx="107">
                  <c:v>58.233319569264054</c:v>
                </c:pt>
                <c:pt idx="108">
                  <c:v>53.150051622267966</c:v>
                </c:pt>
                <c:pt idx="109">
                  <c:v>49.599239453410398</c:v>
                </c:pt>
                <c:pt idx="110">
                  <c:v>47.132359420309356</c:v>
                </c:pt>
                <c:pt idx="111">
                  <c:v>46.571704867331846</c:v>
                </c:pt>
                <c:pt idx="112">
                  <c:v>42.534992085893769</c:v>
                </c:pt>
                <c:pt idx="113">
                  <c:v>37.489101109096183</c:v>
                </c:pt>
                <c:pt idx="114">
                  <c:v>35.255827139735764</c:v>
                </c:pt>
                <c:pt idx="115">
                  <c:v>33.639273178650612</c:v>
                </c:pt>
                <c:pt idx="116">
                  <c:v>31.630261030481197</c:v>
                </c:pt>
                <c:pt idx="117">
                  <c:v>30.593050107472802</c:v>
                </c:pt>
                <c:pt idx="118">
                  <c:v>29.8174779758539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27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C$2:$C$127</c:f>
              <c:numCache>
                <c:formatCode>General</c:formatCode>
                <c:ptCount val="12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27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D$2:$D$127</c:f>
              <c:numCache>
                <c:formatCode>General</c:formatCode>
                <c:ptCount val="126"/>
                <c:pt idx="84" formatCode="0">
                  <c:v>170.86951010656932</c:v>
                </c:pt>
                <c:pt idx="85" formatCode="0">
                  <c:v>164.57331101018667</c:v>
                </c:pt>
                <c:pt idx="86" formatCode="0">
                  <c:v>158.00935132039771</c:v>
                </c:pt>
                <c:pt idx="87" formatCode="0">
                  <c:v>151.39183951192749</c:v>
                </c:pt>
                <c:pt idx="88" formatCode="0">
                  <c:v>144.82787982213856</c:v>
                </c:pt>
                <c:pt idx="89" formatCode="0">
                  <c:v>138.24096922434333</c:v>
                </c:pt>
                <c:pt idx="90" formatCode="0">
                  <c:v>131.58520590252934</c:v>
                </c:pt>
                <c:pt idx="91" formatCode="0">
                  <c:v>124.82998864602156</c:v>
                </c:pt>
                <c:pt idx="92" formatCode="0">
                  <c:v>118.75564832703272</c:v>
                </c:pt>
                <c:pt idx="93" formatCode="0">
                  <c:v>113.10972495749394</c:v>
                </c:pt>
                <c:pt idx="94" formatCode="0">
                  <c:v>107.73921248403025</c:v>
                </c:pt>
                <c:pt idx="95" formatCode="0">
                  <c:v>102.52170606394159</c:v>
                </c:pt>
                <c:pt idx="96" formatCode="0">
                  <c:v>97.487806907902993</c:v>
                </c:pt>
                <c:pt idx="97" formatCode="0">
                  <c:v>92.69106713459567</c:v>
                </c:pt>
                <c:pt idx="98" formatCode="0">
                  <c:v>88.162087954694641</c:v>
                </c:pt>
                <c:pt idx="99" formatCode="0">
                  <c:v>83.946771184212452</c:v>
                </c:pt>
                <c:pt idx="100" formatCode="0">
                  <c:v>79.945662888455331</c:v>
                </c:pt>
                <c:pt idx="101" formatCode="0">
                  <c:v>76.10521094874197</c:v>
                </c:pt>
                <c:pt idx="102" formatCode="0">
                  <c:v>72.425415365072411</c:v>
                </c:pt>
                <c:pt idx="103" formatCode="0">
                  <c:v>68.944527650790377</c:v>
                </c:pt>
                <c:pt idx="104" formatCode="0">
                  <c:v>65.662547805895883</c:v>
                </c:pt>
                <c:pt idx="105" formatCode="0">
                  <c:v>62.556524922382692</c:v>
                </c:pt>
                <c:pt idx="106" formatCode="0">
                  <c:v>59.603508092244539</c:v>
                </c:pt>
                <c:pt idx="107" formatCode="0">
                  <c:v>56.788196710143907</c:v>
                </c:pt>
                <c:pt idx="108" formatCode="0">
                  <c:v>54.110590776080812</c:v>
                </c:pt>
                <c:pt idx="109" formatCode="0">
                  <c:v>51.570690290055254</c:v>
                </c:pt>
                <c:pt idx="110" formatCode="0">
                  <c:v>49.16849525206721</c:v>
                </c:pt>
                <c:pt idx="111" formatCode="0">
                  <c:v>46.881054754110444</c:v>
                </c:pt>
                <c:pt idx="112" formatCode="0">
                  <c:v>44.716019098853714</c:v>
                </c:pt>
                <c:pt idx="113" formatCode="0">
                  <c:v>42.665737983628262</c:v>
                </c:pt>
                <c:pt idx="114" formatCode="0">
                  <c:v>40.707260500427822</c:v>
                </c:pt>
                <c:pt idx="115" formatCode="0">
                  <c:v>38.855887254589909</c:v>
                </c:pt>
                <c:pt idx="116" formatCode="0">
                  <c:v>37.096317640777023</c:v>
                </c:pt>
                <c:pt idx="117" formatCode="0">
                  <c:v>35.4209013563204</c:v>
                </c:pt>
                <c:pt idx="118" formatCode="0">
                  <c:v>33.837288703888788</c:v>
                </c:pt>
                <c:pt idx="119" formatCode="0">
                  <c:v>32.33017907814471</c:v>
                </c:pt>
                <c:pt idx="120" formatCode="0">
                  <c:v>30.891922176419389</c:v>
                </c:pt>
                <c:pt idx="121" formatCode="0">
                  <c:v>29.537818604050333</c:v>
                </c:pt>
                <c:pt idx="122" formatCode="0">
                  <c:v>28.244917453031299</c:v>
                </c:pt>
                <c:pt idx="123" formatCode="0">
                  <c:v>27.020869026031026</c:v>
                </c:pt>
                <c:pt idx="124" formatCode="0">
                  <c:v>25.858023020380763</c:v>
                </c:pt>
                <c:pt idx="125" formatCode="0">
                  <c:v>24.7563794360805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8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27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E$2:$E$127</c:f>
              <c:numCache>
                <c:formatCode>General</c:formatCode>
                <c:ptCount val="126"/>
                <c:pt idx="84" formatCode="0">
                  <c:v>170.86951010656932</c:v>
                </c:pt>
                <c:pt idx="85" formatCode="0">
                  <c:v>165.5831509624619</c:v>
                </c:pt>
                <c:pt idx="86" formatCode="0">
                  <c:v>160.57985301709829</c:v>
                </c:pt>
                <c:pt idx="87" formatCode="0">
                  <c:v>155.82136475713475</c:v>
                </c:pt>
                <c:pt idx="88" formatCode="0">
                  <c:v>151.26178436655871</c:v>
                </c:pt>
                <c:pt idx="89" formatCode="0">
                  <c:v>146.93171305604525</c:v>
                </c:pt>
                <c:pt idx="90" formatCode="0">
                  <c:v>142.8388011282631</c:v>
                </c:pt>
                <c:pt idx="91" formatCode="0">
                  <c:v>138.97539828054349</c:v>
                </c:pt>
                <c:pt idx="92" formatCode="0">
                  <c:v>135.12729603816135</c:v>
                </c:pt>
                <c:pt idx="93" formatCode="0">
                  <c:v>131.34804651979803</c:v>
                </c:pt>
                <c:pt idx="94" formatCode="0">
                  <c:v>127.6912018441347</c:v>
                </c:pt>
                <c:pt idx="95" formatCode="0">
                  <c:v>124.17971291917769</c:v>
                </c:pt>
                <c:pt idx="96" formatCode="0">
                  <c:v>120.78297853425192</c:v>
                </c:pt>
                <c:pt idx="97" formatCode="0">
                  <c:v>117.49334838668868</c:v>
                </c:pt>
                <c:pt idx="98" formatCode="0">
                  <c:v>114.28787156848173</c:v>
                </c:pt>
                <c:pt idx="99" formatCode="0">
                  <c:v>111.15124747429353</c:v>
                </c:pt>
                <c:pt idx="100" formatCode="0">
                  <c:v>108.10642701213034</c:v>
                </c:pt>
                <c:pt idx="101" formatCode="0">
                  <c:v>105.16106048466091</c:v>
                </c:pt>
                <c:pt idx="102" formatCode="0">
                  <c:v>102.3151478918853</c:v>
                </c:pt>
                <c:pt idx="103" formatCode="0">
                  <c:v>99.545738325797203</c:v>
                </c:pt>
                <c:pt idx="104" formatCode="0">
                  <c:v>96.845181483727828</c:v>
                </c:pt>
                <c:pt idx="105" formatCode="0">
                  <c:v>94.221127668345986</c:v>
                </c:pt>
                <c:pt idx="106" formatCode="0">
                  <c:v>91.681227182320427</c:v>
                </c:pt>
                <c:pt idx="107" formatCode="0">
                  <c:v>89.217829722982387</c:v>
                </c:pt>
                <c:pt idx="108" formatCode="0">
                  <c:v>86.830935290331865</c:v>
                </c:pt>
                <c:pt idx="109" formatCode="0">
                  <c:v>84.505243279031319</c:v>
                </c:pt>
                <c:pt idx="110" formatCode="0">
                  <c:v>82.25605429441832</c:v>
                </c:pt>
                <c:pt idx="111" formatCode="0">
                  <c:v>80.068067731155338</c:v>
                </c:pt>
                <c:pt idx="112" formatCode="0">
                  <c:v>77.941283589242374</c:v>
                </c:pt>
                <c:pt idx="113" formatCode="0">
                  <c:v>75.875701868679428</c:v>
                </c:pt>
                <c:pt idx="114" formatCode="0">
                  <c:v>73.871322569466471</c:v>
                </c:pt>
                <c:pt idx="115" formatCode="0">
                  <c:v>71.920495388934796</c:v>
                </c:pt>
                <c:pt idx="116" formatCode="0">
                  <c:v>70.03087062975311</c:v>
                </c:pt>
                <c:pt idx="117" formatCode="0">
                  <c:v>68.187147686583955</c:v>
                </c:pt>
                <c:pt idx="118" formatCode="0">
                  <c:v>66.404627164764804</c:v>
                </c:pt>
                <c:pt idx="119" formatCode="0">
                  <c:v>64.668008458958155</c:v>
                </c:pt>
                <c:pt idx="120" formatCode="0">
                  <c:v>62.984941871832781</c:v>
                </c:pt>
                <c:pt idx="121" formatCode="0">
                  <c:v>61.355427403388681</c:v>
                </c:pt>
                <c:pt idx="122" formatCode="0">
                  <c:v>59.771814750957077</c:v>
                </c:pt>
                <c:pt idx="123" formatCode="0">
                  <c:v>58.234103914537975</c:v>
                </c:pt>
                <c:pt idx="124" formatCode="0">
                  <c:v>56.74229489413139</c:v>
                </c:pt>
                <c:pt idx="125" formatCode="0">
                  <c:v>55.2887373870685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14A-45E8-87A1-7BD2345ADB46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27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F$2:$F$127</c:f>
              <c:numCache>
                <c:formatCode>General</c:formatCode>
                <c:ptCount val="126"/>
                <c:pt idx="84" formatCode="0">
                  <c:v>170.86951010656932</c:v>
                </c:pt>
                <c:pt idx="85" formatCode="0">
                  <c:v>166.58534061206839</c:v>
                </c:pt>
                <c:pt idx="86" formatCode="0">
                  <c:v>163.14270441113013</c:v>
                </c:pt>
                <c:pt idx="87" formatCode="0">
                  <c:v>160.24323969967321</c:v>
                </c:pt>
                <c:pt idx="88" formatCode="0">
                  <c:v>157.68803860831014</c:v>
                </c:pt>
                <c:pt idx="89" formatCode="0">
                  <c:v>155.66070840109094</c:v>
                </c:pt>
                <c:pt idx="90" formatCode="0">
                  <c:v>154.25305271004063</c:v>
                </c:pt>
                <c:pt idx="91" formatCode="0">
                  <c:v>153.50332304850295</c:v>
                </c:pt>
                <c:pt idx="92" formatCode="0">
                  <c:v>152.21042189748391</c:v>
                </c:pt>
                <c:pt idx="93" formatCode="0">
                  <c:v>150.69566196907107</c:v>
                </c:pt>
                <c:pt idx="94" formatCode="0">
                  <c:v>149.21915355400202</c:v>
                </c:pt>
                <c:pt idx="95" formatCode="0">
                  <c:v>147.99510512700172</c:v>
                </c:pt>
                <c:pt idx="96" formatCode="0">
                  <c:v>146.91641245070775</c:v>
                </c:pt>
                <c:pt idx="97" formatCode="0">
                  <c:v>145.86832098508879</c:v>
                </c:pt>
                <c:pt idx="98" formatCode="0">
                  <c:v>144.74372649278226</c:v>
                </c:pt>
                <c:pt idx="99" formatCode="0">
                  <c:v>143.48907685510699</c:v>
                </c:pt>
                <c:pt idx="100" formatCode="0">
                  <c:v>142.26502842810672</c:v>
                </c:pt>
                <c:pt idx="101" formatCode="0">
                  <c:v>141.13278363313145</c:v>
                </c:pt>
                <c:pt idx="102" formatCode="0">
                  <c:v>140.07704186484369</c:v>
                </c:pt>
                <c:pt idx="103" formatCode="0">
                  <c:v>139.00599949121849</c:v>
                </c:pt>
                <c:pt idx="104" formatCode="0">
                  <c:v>137.90435590691825</c:v>
                </c:pt>
                <c:pt idx="105" formatCode="0">
                  <c:v>136.77976141461176</c:v>
                </c:pt>
                <c:pt idx="106" formatCode="0">
                  <c:v>135.66281722497399</c:v>
                </c:pt>
                <c:pt idx="107" formatCode="0">
                  <c:v>134.5994251540175</c:v>
                </c:pt>
                <c:pt idx="108" formatCode="0">
                  <c:v>133.56663429373603</c:v>
                </c:pt>
                <c:pt idx="109" formatCode="0">
                  <c:v>132.53384343345454</c:v>
                </c:pt>
                <c:pt idx="110" formatCode="0">
                  <c:v>131.48575196783557</c:v>
                </c:pt>
                <c:pt idx="111" formatCode="0">
                  <c:v>130.43766050221657</c:v>
                </c:pt>
                <c:pt idx="112" formatCode="0">
                  <c:v>129.41251994460384</c:v>
                </c:pt>
                <c:pt idx="113" formatCode="0">
                  <c:v>128.40267999232861</c:v>
                </c:pt>
                <c:pt idx="114" formatCode="0">
                  <c:v>127.40814064539092</c:v>
                </c:pt>
                <c:pt idx="115" formatCode="0">
                  <c:v>126.42125160112194</c:v>
                </c:pt>
                <c:pt idx="116" formatCode="0">
                  <c:v>125.43436255685297</c:v>
                </c:pt>
                <c:pt idx="117" formatCode="0">
                  <c:v>124.46277411792148</c:v>
                </c:pt>
                <c:pt idx="118" formatCode="0">
                  <c:v>123.49118567899004</c:v>
                </c:pt>
                <c:pt idx="119" formatCode="0">
                  <c:v>122.53489784539606</c:v>
                </c:pt>
                <c:pt idx="120" formatCode="0">
                  <c:v>121.5939106171396</c:v>
                </c:pt>
                <c:pt idx="121" formatCode="0">
                  <c:v>120.65292338888312</c:v>
                </c:pt>
                <c:pt idx="122" formatCode="0">
                  <c:v>119.71958646329543</c:v>
                </c:pt>
                <c:pt idx="123" formatCode="0">
                  <c:v>118.79389984037645</c:v>
                </c:pt>
                <c:pt idx="124" formatCode="0">
                  <c:v>117.87586352012627</c:v>
                </c:pt>
                <c:pt idx="125" formatCode="0">
                  <c:v>116.973127805213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9667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28</c:f>
              <c:numCache>
                <c:formatCode>m/d/yyyy</c:formatCode>
                <c:ptCount val="227"/>
                <c:pt idx="0">
                  <c:v>44231</c:v>
                </c:pt>
                <c:pt idx="1">
                  <c:v>44232</c:v>
                </c:pt>
                <c:pt idx="2">
                  <c:v>44233</c:v>
                </c:pt>
                <c:pt idx="3">
                  <c:v>44234</c:v>
                </c:pt>
                <c:pt idx="4">
                  <c:v>44235</c:v>
                </c:pt>
                <c:pt idx="5">
                  <c:v>44236</c:v>
                </c:pt>
                <c:pt idx="6">
                  <c:v>44237</c:v>
                </c:pt>
                <c:pt idx="7">
                  <c:v>44238</c:v>
                </c:pt>
                <c:pt idx="8">
                  <c:v>44239</c:v>
                </c:pt>
                <c:pt idx="9">
                  <c:v>44240</c:v>
                </c:pt>
                <c:pt idx="10">
                  <c:v>44241</c:v>
                </c:pt>
                <c:pt idx="11">
                  <c:v>44242</c:v>
                </c:pt>
                <c:pt idx="12">
                  <c:v>44243</c:v>
                </c:pt>
                <c:pt idx="13">
                  <c:v>44244</c:v>
                </c:pt>
                <c:pt idx="14">
                  <c:v>44245</c:v>
                </c:pt>
                <c:pt idx="15">
                  <c:v>44246</c:v>
                </c:pt>
                <c:pt idx="16">
                  <c:v>44247</c:v>
                </c:pt>
                <c:pt idx="17">
                  <c:v>44248</c:v>
                </c:pt>
                <c:pt idx="18">
                  <c:v>44249</c:v>
                </c:pt>
                <c:pt idx="19">
                  <c:v>44250</c:v>
                </c:pt>
                <c:pt idx="20">
                  <c:v>44251</c:v>
                </c:pt>
                <c:pt idx="21">
                  <c:v>44252</c:v>
                </c:pt>
                <c:pt idx="22">
                  <c:v>44253</c:v>
                </c:pt>
                <c:pt idx="23">
                  <c:v>44254</c:v>
                </c:pt>
                <c:pt idx="24">
                  <c:v>44255</c:v>
                </c:pt>
                <c:pt idx="25">
                  <c:v>44256</c:v>
                </c:pt>
                <c:pt idx="26">
                  <c:v>44257</c:v>
                </c:pt>
                <c:pt idx="27">
                  <c:v>44258</c:v>
                </c:pt>
                <c:pt idx="28">
                  <c:v>44259</c:v>
                </c:pt>
                <c:pt idx="29">
                  <c:v>44260</c:v>
                </c:pt>
                <c:pt idx="30">
                  <c:v>44261</c:v>
                </c:pt>
                <c:pt idx="31">
                  <c:v>44262</c:v>
                </c:pt>
                <c:pt idx="32">
                  <c:v>44263</c:v>
                </c:pt>
                <c:pt idx="33">
                  <c:v>44264</c:v>
                </c:pt>
                <c:pt idx="34">
                  <c:v>44265</c:v>
                </c:pt>
                <c:pt idx="35">
                  <c:v>44266</c:v>
                </c:pt>
                <c:pt idx="36">
                  <c:v>44267</c:v>
                </c:pt>
                <c:pt idx="37">
                  <c:v>44268</c:v>
                </c:pt>
                <c:pt idx="38">
                  <c:v>44269</c:v>
                </c:pt>
                <c:pt idx="39">
                  <c:v>44270</c:v>
                </c:pt>
                <c:pt idx="40">
                  <c:v>44271</c:v>
                </c:pt>
                <c:pt idx="41">
                  <c:v>44272</c:v>
                </c:pt>
                <c:pt idx="42">
                  <c:v>44273</c:v>
                </c:pt>
                <c:pt idx="43">
                  <c:v>44274</c:v>
                </c:pt>
                <c:pt idx="44">
                  <c:v>44275</c:v>
                </c:pt>
                <c:pt idx="45">
                  <c:v>44276</c:v>
                </c:pt>
                <c:pt idx="46">
                  <c:v>44277</c:v>
                </c:pt>
                <c:pt idx="47">
                  <c:v>44278</c:v>
                </c:pt>
                <c:pt idx="48">
                  <c:v>44279</c:v>
                </c:pt>
                <c:pt idx="49">
                  <c:v>44280</c:v>
                </c:pt>
                <c:pt idx="50">
                  <c:v>44281</c:v>
                </c:pt>
                <c:pt idx="51">
                  <c:v>44282</c:v>
                </c:pt>
                <c:pt idx="52">
                  <c:v>44283</c:v>
                </c:pt>
                <c:pt idx="53">
                  <c:v>44284</c:v>
                </c:pt>
                <c:pt idx="54">
                  <c:v>44285</c:v>
                </c:pt>
                <c:pt idx="55">
                  <c:v>44286</c:v>
                </c:pt>
                <c:pt idx="56">
                  <c:v>44287</c:v>
                </c:pt>
                <c:pt idx="57">
                  <c:v>44288</c:v>
                </c:pt>
                <c:pt idx="58">
                  <c:v>44289</c:v>
                </c:pt>
                <c:pt idx="59">
                  <c:v>44290</c:v>
                </c:pt>
                <c:pt idx="60">
                  <c:v>44291</c:v>
                </c:pt>
                <c:pt idx="61">
                  <c:v>44292</c:v>
                </c:pt>
                <c:pt idx="62">
                  <c:v>44293</c:v>
                </c:pt>
                <c:pt idx="63">
                  <c:v>44294</c:v>
                </c:pt>
                <c:pt idx="64">
                  <c:v>44295</c:v>
                </c:pt>
                <c:pt idx="65">
                  <c:v>44296</c:v>
                </c:pt>
                <c:pt idx="66">
                  <c:v>44297</c:v>
                </c:pt>
                <c:pt idx="67">
                  <c:v>44298</c:v>
                </c:pt>
                <c:pt idx="68">
                  <c:v>44299</c:v>
                </c:pt>
                <c:pt idx="69">
                  <c:v>44300</c:v>
                </c:pt>
                <c:pt idx="70">
                  <c:v>44301</c:v>
                </c:pt>
                <c:pt idx="71">
                  <c:v>44302</c:v>
                </c:pt>
                <c:pt idx="72">
                  <c:v>44303</c:v>
                </c:pt>
                <c:pt idx="73">
                  <c:v>44304</c:v>
                </c:pt>
                <c:pt idx="74">
                  <c:v>44305</c:v>
                </c:pt>
                <c:pt idx="75">
                  <c:v>44306</c:v>
                </c:pt>
                <c:pt idx="76">
                  <c:v>44307</c:v>
                </c:pt>
                <c:pt idx="77">
                  <c:v>44308</c:v>
                </c:pt>
                <c:pt idx="78">
                  <c:v>44309</c:v>
                </c:pt>
                <c:pt idx="79">
                  <c:v>44310</c:v>
                </c:pt>
                <c:pt idx="80">
                  <c:v>44311</c:v>
                </c:pt>
                <c:pt idx="81">
                  <c:v>44312</c:v>
                </c:pt>
                <c:pt idx="82">
                  <c:v>44313</c:v>
                </c:pt>
                <c:pt idx="83">
                  <c:v>44314</c:v>
                </c:pt>
                <c:pt idx="84">
                  <c:v>44315</c:v>
                </c:pt>
                <c:pt idx="85">
                  <c:v>44316</c:v>
                </c:pt>
                <c:pt idx="86">
                  <c:v>44317</c:v>
                </c:pt>
                <c:pt idx="87">
                  <c:v>44318</c:v>
                </c:pt>
                <c:pt idx="88">
                  <c:v>44319</c:v>
                </c:pt>
                <c:pt idx="89">
                  <c:v>44320</c:v>
                </c:pt>
                <c:pt idx="90">
                  <c:v>44321</c:v>
                </c:pt>
                <c:pt idx="91">
                  <c:v>44322</c:v>
                </c:pt>
                <c:pt idx="92">
                  <c:v>44323</c:v>
                </c:pt>
                <c:pt idx="93">
                  <c:v>44324</c:v>
                </c:pt>
                <c:pt idx="94">
                  <c:v>44325</c:v>
                </c:pt>
                <c:pt idx="95">
                  <c:v>44326</c:v>
                </c:pt>
                <c:pt idx="96">
                  <c:v>44327</c:v>
                </c:pt>
                <c:pt idx="97">
                  <c:v>44328</c:v>
                </c:pt>
                <c:pt idx="98">
                  <c:v>44329</c:v>
                </c:pt>
                <c:pt idx="99">
                  <c:v>44330</c:v>
                </c:pt>
                <c:pt idx="100">
                  <c:v>44331</c:v>
                </c:pt>
                <c:pt idx="101">
                  <c:v>44332</c:v>
                </c:pt>
                <c:pt idx="102">
                  <c:v>44333</c:v>
                </c:pt>
                <c:pt idx="103">
                  <c:v>44334</c:v>
                </c:pt>
                <c:pt idx="104">
                  <c:v>44335</c:v>
                </c:pt>
                <c:pt idx="105">
                  <c:v>44336</c:v>
                </c:pt>
                <c:pt idx="106">
                  <c:v>44337</c:v>
                </c:pt>
                <c:pt idx="107">
                  <c:v>44338</c:v>
                </c:pt>
                <c:pt idx="108">
                  <c:v>44339</c:v>
                </c:pt>
                <c:pt idx="109">
                  <c:v>44340</c:v>
                </c:pt>
                <c:pt idx="110">
                  <c:v>44341</c:v>
                </c:pt>
                <c:pt idx="111">
                  <c:v>44342</c:v>
                </c:pt>
                <c:pt idx="112">
                  <c:v>44343</c:v>
                </c:pt>
                <c:pt idx="113">
                  <c:v>44344</c:v>
                </c:pt>
                <c:pt idx="114">
                  <c:v>44345</c:v>
                </c:pt>
                <c:pt idx="115">
                  <c:v>44346</c:v>
                </c:pt>
              </c:numCache>
            </c:numRef>
          </c:cat>
          <c:val>
            <c:numRef>
              <c:f>Sheet1!$B$2:$B$228</c:f>
              <c:numCache>
                <c:formatCode>General</c:formatCode>
                <c:ptCount val="227"/>
                <c:pt idx="0">
                  <c:v>8108</c:v>
                </c:pt>
                <c:pt idx="1">
                  <c:v>8623</c:v>
                </c:pt>
                <c:pt idx="2">
                  <c:v>4820</c:v>
                </c:pt>
                <c:pt idx="3">
                  <c:v>2451</c:v>
                </c:pt>
                <c:pt idx="4">
                  <c:v>7777</c:v>
                </c:pt>
                <c:pt idx="5">
                  <c:v>10282</c:v>
                </c:pt>
                <c:pt idx="6">
                  <c:v>9539</c:v>
                </c:pt>
                <c:pt idx="7">
                  <c:v>9018</c:v>
                </c:pt>
                <c:pt idx="8">
                  <c:v>8830</c:v>
                </c:pt>
                <c:pt idx="9">
                  <c:v>5141</c:v>
                </c:pt>
                <c:pt idx="10">
                  <c:v>2880</c:v>
                </c:pt>
                <c:pt idx="11">
                  <c:v>8905</c:v>
                </c:pt>
                <c:pt idx="12">
                  <c:v>12608</c:v>
                </c:pt>
                <c:pt idx="13">
                  <c:v>10939</c:v>
                </c:pt>
                <c:pt idx="14">
                  <c:v>11704</c:v>
                </c:pt>
                <c:pt idx="15">
                  <c:v>11288</c:v>
                </c:pt>
                <c:pt idx="16">
                  <c:v>6775</c:v>
                </c:pt>
                <c:pt idx="17">
                  <c:v>4068</c:v>
                </c:pt>
                <c:pt idx="18">
                  <c:v>11410</c:v>
                </c:pt>
                <c:pt idx="19">
                  <c:v>15840</c:v>
                </c:pt>
                <c:pt idx="20">
                  <c:v>13796</c:v>
                </c:pt>
                <c:pt idx="21">
                  <c:v>14588</c:v>
                </c:pt>
                <c:pt idx="22">
                  <c:v>14775</c:v>
                </c:pt>
                <c:pt idx="23">
                  <c:v>7824</c:v>
                </c:pt>
                <c:pt idx="24">
                  <c:v>4587</c:v>
                </c:pt>
                <c:pt idx="25">
                  <c:v>12325</c:v>
                </c:pt>
                <c:pt idx="26">
                  <c:v>16779</c:v>
                </c:pt>
                <c:pt idx="27">
                  <c:v>15238</c:v>
                </c:pt>
                <c:pt idx="28">
                  <c:v>14649</c:v>
                </c:pt>
                <c:pt idx="29">
                  <c:v>13169</c:v>
                </c:pt>
                <c:pt idx="30">
                  <c:v>9130</c:v>
                </c:pt>
                <c:pt idx="31">
                  <c:v>3983</c:v>
                </c:pt>
                <c:pt idx="32">
                  <c:v>10653</c:v>
                </c:pt>
                <c:pt idx="33">
                  <c:v>15361</c:v>
                </c:pt>
                <c:pt idx="34">
                  <c:v>14537</c:v>
                </c:pt>
                <c:pt idx="35">
                  <c:v>11245</c:v>
                </c:pt>
                <c:pt idx="36">
                  <c:v>14960</c:v>
                </c:pt>
                <c:pt idx="37">
                  <c:v>6956</c:v>
                </c:pt>
                <c:pt idx="38">
                  <c:v>3333</c:v>
                </c:pt>
                <c:pt idx="39">
                  <c:v>10630</c:v>
                </c:pt>
                <c:pt idx="40">
                  <c:v>14028</c:v>
                </c:pt>
                <c:pt idx="41">
                  <c:v>12028</c:v>
                </c:pt>
                <c:pt idx="42">
                  <c:v>10661</c:v>
                </c:pt>
                <c:pt idx="43">
                  <c:v>9709</c:v>
                </c:pt>
                <c:pt idx="44">
                  <c:v>5466</c:v>
                </c:pt>
                <c:pt idx="45">
                  <c:v>2391</c:v>
                </c:pt>
                <c:pt idx="46">
                  <c:v>8239</c:v>
                </c:pt>
                <c:pt idx="47">
                  <c:v>10968</c:v>
                </c:pt>
                <c:pt idx="48">
                  <c:v>8848</c:v>
                </c:pt>
                <c:pt idx="49">
                  <c:v>7926</c:v>
                </c:pt>
                <c:pt idx="50">
                  <c:v>7712</c:v>
                </c:pt>
                <c:pt idx="51">
                  <c:v>3969</c:v>
                </c:pt>
                <c:pt idx="52">
                  <c:v>1744</c:v>
                </c:pt>
                <c:pt idx="53">
                  <c:v>6935</c:v>
                </c:pt>
                <c:pt idx="54">
                  <c:v>8630</c:v>
                </c:pt>
                <c:pt idx="55">
                  <c:v>7263</c:v>
                </c:pt>
                <c:pt idx="56">
                  <c:v>6245</c:v>
                </c:pt>
                <c:pt idx="57">
                  <c:v>3837</c:v>
                </c:pt>
                <c:pt idx="58">
                  <c:v>2160</c:v>
                </c:pt>
                <c:pt idx="59">
                  <c:v>1925</c:v>
                </c:pt>
                <c:pt idx="60">
                  <c:v>1419</c:v>
                </c:pt>
                <c:pt idx="61">
                  <c:v>5583</c:v>
                </c:pt>
                <c:pt idx="62">
                  <c:v>7052</c:v>
                </c:pt>
                <c:pt idx="63">
                  <c:v>5281</c:v>
                </c:pt>
                <c:pt idx="64">
                  <c:v>4819</c:v>
                </c:pt>
                <c:pt idx="65">
                  <c:v>2204</c:v>
                </c:pt>
                <c:pt idx="66">
                  <c:v>985</c:v>
                </c:pt>
                <c:pt idx="67">
                  <c:v>3868</c:v>
                </c:pt>
                <c:pt idx="68">
                  <c:v>5056</c:v>
                </c:pt>
                <c:pt idx="69">
                  <c:v>3715</c:v>
                </c:pt>
                <c:pt idx="70">
                  <c:v>3263</c:v>
                </c:pt>
                <c:pt idx="71">
                  <c:v>3217</c:v>
                </c:pt>
                <c:pt idx="72">
                  <c:v>1541</c:v>
                </c:pt>
                <c:pt idx="73">
                  <c:v>833</c:v>
                </c:pt>
                <c:pt idx="74">
                  <c:v>3341</c:v>
                </c:pt>
                <c:pt idx="75">
                  <c:v>3815</c:v>
                </c:pt>
                <c:pt idx="76">
                  <c:v>2951</c:v>
                </c:pt>
                <c:pt idx="77">
                  <c:v>2628</c:v>
                </c:pt>
                <c:pt idx="78">
                  <c:v>2601</c:v>
                </c:pt>
                <c:pt idx="79">
                  <c:v>1307</c:v>
                </c:pt>
                <c:pt idx="80">
                  <c:v>825</c:v>
                </c:pt>
                <c:pt idx="81">
                  <c:v>2579</c:v>
                </c:pt>
                <c:pt idx="82">
                  <c:v>3238</c:v>
                </c:pt>
                <c:pt idx="83">
                  <c:v>2488</c:v>
                </c:pt>
                <c:pt idx="84">
                  <c:v>2228</c:v>
                </c:pt>
                <c:pt idx="85">
                  <c:v>2166</c:v>
                </c:pt>
                <c:pt idx="86">
                  <c:v>1171</c:v>
                </c:pt>
                <c:pt idx="87">
                  <c:v>508</c:v>
                </c:pt>
                <c:pt idx="88">
                  <c:v>2217</c:v>
                </c:pt>
                <c:pt idx="89">
                  <c:v>2416</c:v>
                </c:pt>
                <c:pt idx="90">
                  <c:v>1873</c:v>
                </c:pt>
                <c:pt idx="91">
                  <c:v>1572</c:v>
                </c:pt>
                <c:pt idx="92">
                  <c:v>1638</c:v>
                </c:pt>
                <c:pt idx="93">
                  <c:v>725</c:v>
                </c:pt>
                <c:pt idx="94">
                  <c:v>383</c:v>
                </c:pt>
                <c:pt idx="95">
                  <c:v>1544</c:v>
                </c:pt>
                <c:pt idx="96">
                  <c:v>1690</c:v>
                </c:pt>
                <c:pt idx="97">
                  <c:v>1264</c:v>
                </c:pt>
                <c:pt idx="98">
                  <c:v>1223</c:v>
                </c:pt>
                <c:pt idx="99">
                  <c:v>1051</c:v>
                </c:pt>
                <c:pt idx="100">
                  <c:v>597</c:v>
                </c:pt>
                <c:pt idx="101">
                  <c:v>256</c:v>
                </c:pt>
                <c:pt idx="102">
                  <c:v>1129</c:v>
                </c:pt>
                <c:pt idx="103">
                  <c:v>1198</c:v>
                </c:pt>
                <c:pt idx="104">
                  <c:v>778</c:v>
                </c:pt>
                <c:pt idx="105">
                  <c:v>679</c:v>
                </c:pt>
                <c:pt idx="106">
                  <c:v>671</c:v>
                </c:pt>
                <c:pt idx="107">
                  <c:v>333</c:v>
                </c:pt>
                <c:pt idx="108">
                  <c:v>196</c:v>
                </c:pt>
                <c:pt idx="109">
                  <c:v>697</c:v>
                </c:pt>
                <c:pt idx="110">
                  <c:v>658</c:v>
                </c:pt>
                <c:pt idx="111">
                  <c:v>539</c:v>
                </c:pt>
                <c:pt idx="112">
                  <c:v>506</c:v>
                </c:pt>
                <c:pt idx="113">
                  <c:v>456</c:v>
                </c:pt>
                <c:pt idx="114">
                  <c:v>222</c:v>
                </c:pt>
                <c:pt idx="115">
                  <c:v>1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F7F-4BCE-A7C8-6C97C60523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28000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B$93:$B$274</c:f>
              <c:numCache>
                <c:formatCode>0</c:formatCode>
                <c:ptCount val="182"/>
                <c:pt idx="0">
                  <c:v>5180</c:v>
                </c:pt>
                <c:pt idx="1">
                  <c:v>4561</c:v>
                </c:pt>
                <c:pt idx="2">
                  <c:v>4624</c:v>
                </c:pt>
                <c:pt idx="3">
                  <c:v>4747</c:v>
                </c:pt>
                <c:pt idx="4">
                  <c:v>3312</c:v>
                </c:pt>
                <c:pt idx="5">
                  <c:v>1112</c:v>
                </c:pt>
                <c:pt idx="6">
                  <c:v>4251</c:v>
                </c:pt>
                <c:pt idx="7">
                  <c:v>5855</c:v>
                </c:pt>
                <c:pt idx="8">
                  <c:v>6415</c:v>
                </c:pt>
                <c:pt idx="9">
                  <c:v>5872</c:v>
                </c:pt>
                <c:pt idx="10">
                  <c:v>6209</c:v>
                </c:pt>
                <c:pt idx="11">
                  <c:v>3655</c:v>
                </c:pt>
                <c:pt idx="12">
                  <c:v>1998</c:v>
                </c:pt>
                <c:pt idx="13">
                  <c:v>5176</c:v>
                </c:pt>
                <c:pt idx="14">
                  <c:v>7908</c:v>
                </c:pt>
                <c:pt idx="15">
                  <c:v>8258</c:v>
                </c:pt>
                <c:pt idx="16">
                  <c:v>7614</c:v>
                </c:pt>
                <c:pt idx="17">
                  <c:v>8838</c:v>
                </c:pt>
                <c:pt idx="18">
                  <c:v>5326</c:v>
                </c:pt>
                <c:pt idx="19">
                  <c:v>3403</c:v>
                </c:pt>
                <c:pt idx="20">
                  <c:v>7950</c:v>
                </c:pt>
                <c:pt idx="21">
                  <c:v>10915</c:v>
                </c:pt>
                <c:pt idx="22">
                  <c:v>14139</c:v>
                </c:pt>
                <c:pt idx="23">
                  <c:v>4373</c:v>
                </c:pt>
                <c:pt idx="24">
                  <c:v>2671</c:v>
                </c:pt>
                <c:pt idx="25">
                  <c:v>3031</c:v>
                </c:pt>
                <c:pt idx="26">
                  <c:v>3783</c:v>
                </c:pt>
                <c:pt idx="27">
                  <c:v>10937</c:v>
                </c:pt>
                <c:pt idx="28">
                  <c:v>16476</c:v>
                </c:pt>
                <c:pt idx="29">
                  <c:v>17061</c:v>
                </c:pt>
                <c:pt idx="30">
                  <c:v>13308</c:v>
                </c:pt>
                <c:pt idx="31">
                  <c:v>3446</c:v>
                </c:pt>
                <c:pt idx="32">
                  <c:v>4984</c:v>
                </c:pt>
                <c:pt idx="33">
                  <c:v>6268</c:v>
                </c:pt>
                <c:pt idx="34">
                  <c:v>12956</c:v>
                </c:pt>
                <c:pt idx="35">
                  <c:v>17401</c:v>
                </c:pt>
                <c:pt idx="36">
                  <c:v>17770</c:v>
                </c:pt>
                <c:pt idx="37">
                  <c:v>14882</c:v>
                </c:pt>
                <c:pt idx="38">
                  <c:v>13099</c:v>
                </c:pt>
                <c:pt idx="39">
                  <c:v>8438</c:v>
                </c:pt>
                <c:pt idx="40">
                  <c:v>4313</c:v>
                </c:pt>
                <c:pt idx="41">
                  <c:v>9386</c:v>
                </c:pt>
                <c:pt idx="42">
                  <c:v>10811</c:v>
                </c:pt>
                <c:pt idx="43">
                  <c:v>10922</c:v>
                </c:pt>
                <c:pt idx="44">
                  <c:v>8088</c:v>
                </c:pt>
                <c:pt idx="45">
                  <c:v>9301</c:v>
                </c:pt>
                <c:pt idx="46">
                  <c:v>5242</c:v>
                </c:pt>
                <c:pt idx="47">
                  <c:v>2641</c:v>
                </c:pt>
                <c:pt idx="48">
                  <c:v>7668</c:v>
                </c:pt>
                <c:pt idx="49">
                  <c:v>9610</c:v>
                </c:pt>
                <c:pt idx="50">
                  <c:v>8216</c:v>
                </c:pt>
                <c:pt idx="51">
                  <c:v>7534</c:v>
                </c:pt>
                <c:pt idx="52">
                  <c:v>8468</c:v>
                </c:pt>
                <c:pt idx="53">
                  <c:v>4239</c:v>
                </c:pt>
                <c:pt idx="54">
                  <c:v>2394</c:v>
                </c:pt>
                <c:pt idx="55">
                  <c:v>6974</c:v>
                </c:pt>
                <c:pt idx="56">
                  <c:v>9196</c:v>
                </c:pt>
                <c:pt idx="57">
                  <c:v>8504</c:v>
                </c:pt>
                <c:pt idx="58">
                  <c:v>8010</c:v>
                </c:pt>
                <c:pt idx="59">
                  <c:v>8052</c:v>
                </c:pt>
                <c:pt idx="60">
                  <c:v>4055</c:v>
                </c:pt>
                <c:pt idx="61">
                  <c:v>2573</c:v>
                </c:pt>
                <c:pt idx="62">
                  <c:v>7217</c:v>
                </c:pt>
                <c:pt idx="63">
                  <c:v>9150</c:v>
                </c:pt>
                <c:pt idx="64">
                  <c:v>9667</c:v>
                </c:pt>
                <c:pt idx="65">
                  <c:v>8108</c:v>
                </c:pt>
                <c:pt idx="66">
                  <c:v>8623</c:v>
                </c:pt>
                <c:pt idx="67">
                  <c:v>4820</c:v>
                </c:pt>
                <c:pt idx="68">
                  <c:v>2451</c:v>
                </c:pt>
                <c:pt idx="69">
                  <c:v>7777</c:v>
                </c:pt>
                <c:pt idx="70">
                  <c:v>10282</c:v>
                </c:pt>
                <c:pt idx="71">
                  <c:v>9539</c:v>
                </c:pt>
                <c:pt idx="72">
                  <c:v>9018</c:v>
                </c:pt>
                <c:pt idx="73">
                  <c:v>8830</c:v>
                </c:pt>
                <c:pt idx="74">
                  <c:v>5141</c:v>
                </c:pt>
                <c:pt idx="75">
                  <c:v>2880</c:v>
                </c:pt>
                <c:pt idx="76">
                  <c:v>8905</c:v>
                </c:pt>
                <c:pt idx="77">
                  <c:v>12608</c:v>
                </c:pt>
                <c:pt idx="78">
                  <c:v>10939</c:v>
                </c:pt>
                <c:pt idx="79">
                  <c:v>11704</c:v>
                </c:pt>
                <c:pt idx="80">
                  <c:v>11288</c:v>
                </c:pt>
                <c:pt idx="81">
                  <c:v>6775</c:v>
                </c:pt>
                <c:pt idx="82">
                  <c:v>4068</c:v>
                </c:pt>
                <c:pt idx="83">
                  <c:v>11410</c:v>
                </c:pt>
                <c:pt idx="84">
                  <c:v>15840</c:v>
                </c:pt>
                <c:pt idx="85">
                  <c:v>13796</c:v>
                </c:pt>
                <c:pt idx="86">
                  <c:v>14588</c:v>
                </c:pt>
                <c:pt idx="87">
                  <c:v>14775</c:v>
                </c:pt>
                <c:pt idx="88">
                  <c:v>7824</c:v>
                </c:pt>
                <c:pt idx="89">
                  <c:v>4587</c:v>
                </c:pt>
                <c:pt idx="90">
                  <c:v>12325</c:v>
                </c:pt>
                <c:pt idx="91">
                  <c:v>16779</c:v>
                </c:pt>
                <c:pt idx="92">
                  <c:v>15238</c:v>
                </c:pt>
                <c:pt idx="93">
                  <c:v>14649</c:v>
                </c:pt>
                <c:pt idx="94">
                  <c:v>13169</c:v>
                </c:pt>
                <c:pt idx="95">
                  <c:v>9130</c:v>
                </c:pt>
                <c:pt idx="96">
                  <c:v>3983</c:v>
                </c:pt>
                <c:pt idx="97">
                  <c:v>10653</c:v>
                </c:pt>
                <c:pt idx="98">
                  <c:v>15361</c:v>
                </c:pt>
                <c:pt idx="99">
                  <c:v>14537</c:v>
                </c:pt>
                <c:pt idx="100">
                  <c:v>11245</c:v>
                </c:pt>
                <c:pt idx="101">
                  <c:v>14960</c:v>
                </c:pt>
                <c:pt idx="102">
                  <c:v>6956</c:v>
                </c:pt>
                <c:pt idx="103">
                  <c:v>3333</c:v>
                </c:pt>
                <c:pt idx="104">
                  <c:v>10630</c:v>
                </c:pt>
                <c:pt idx="105">
                  <c:v>14028</c:v>
                </c:pt>
                <c:pt idx="106">
                  <c:v>12028</c:v>
                </c:pt>
                <c:pt idx="107">
                  <c:v>10661</c:v>
                </c:pt>
                <c:pt idx="108">
                  <c:v>9709</c:v>
                </c:pt>
                <c:pt idx="109">
                  <c:v>5466</c:v>
                </c:pt>
                <c:pt idx="110">
                  <c:v>2391</c:v>
                </c:pt>
                <c:pt idx="111">
                  <c:v>8239</c:v>
                </c:pt>
                <c:pt idx="112">
                  <c:v>10968</c:v>
                </c:pt>
                <c:pt idx="113">
                  <c:v>8848</c:v>
                </c:pt>
                <c:pt idx="114">
                  <c:v>7926</c:v>
                </c:pt>
                <c:pt idx="115">
                  <c:v>7712</c:v>
                </c:pt>
                <c:pt idx="116">
                  <c:v>3969</c:v>
                </c:pt>
                <c:pt idx="117">
                  <c:v>1744</c:v>
                </c:pt>
                <c:pt idx="118">
                  <c:v>6935</c:v>
                </c:pt>
                <c:pt idx="119">
                  <c:v>8630</c:v>
                </c:pt>
                <c:pt idx="120">
                  <c:v>7263</c:v>
                </c:pt>
                <c:pt idx="121">
                  <c:v>6245</c:v>
                </c:pt>
                <c:pt idx="122">
                  <c:v>3837</c:v>
                </c:pt>
                <c:pt idx="123">
                  <c:v>2160</c:v>
                </c:pt>
                <c:pt idx="124">
                  <c:v>1925</c:v>
                </c:pt>
                <c:pt idx="125">
                  <c:v>1419</c:v>
                </c:pt>
                <c:pt idx="126">
                  <c:v>5583</c:v>
                </c:pt>
                <c:pt idx="127">
                  <c:v>7052</c:v>
                </c:pt>
                <c:pt idx="128">
                  <c:v>5281</c:v>
                </c:pt>
                <c:pt idx="129">
                  <c:v>4819</c:v>
                </c:pt>
                <c:pt idx="130">
                  <c:v>2204</c:v>
                </c:pt>
                <c:pt idx="131">
                  <c:v>985</c:v>
                </c:pt>
                <c:pt idx="132">
                  <c:v>3868</c:v>
                </c:pt>
                <c:pt idx="133">
                  <c:v>5056</c:v>
                </c:pt>
                <c:pt idx="134">
                  <c:v>3715</c:v>
                </c:pt>
                <c:pt idx="135">
                  <c:v>3263</c:v>
                </c:pt>
                <c:pt idx="136">
                  <c:v>3217</c:v>
                </c:pt>
                <c:pt idx="137">
                  <c:v>1541</c:v>
                </c:pt>
                <c:pt idx="138">
                  <c:v>833</c:v>
                </c:pt>
                <c:pt idx="139">
                  <c:v>3341</c:v>
                </c:pt>
                <c:pt idx="140">
                  <c:v>3815</c:v>
                </c:pt>
                <c:pt idx="141">
                  <c:v>2951</c:v>
                </c:pt>
                <c:pt idx="142">
                  <c:v>2628</c:v>
                </c:pt>
                <c:pt idx="143">
                  <c:v>2601</c:v>
                </c:pt>
                <c:pt idx="144">
                  <c:v>1307</c:v>
                </c:pt>
                <c:pt idx="145">
                  <c:v>825</c:v>
                </c:pt>
                <c:pt idx="146">
                  <c:v>2579</c:v>
                </c:pt>
                <c:pt idx="147">
                  <c:v>3238</c:v>
                </c:pt>
                <c:pt idx="148">
                  <c:v>2488</c:v>
                </c:pt>
                <c:pt idx="149">
                  <c:v>2228</c:v>
                </c:pt>
                <c:pt idx="150">
                  <c:v>2166</c:v>
                </c:pt>
                <c:pt idx="151">
                  <c:v>1171</c:v>
                </c:pt>
                <c:pt idx="152">
                  <c:v>508</c:v>
                </c:pt>
                <c:pt idx="153">
                  <c:v>2217</c:v>
                </c:pt>
                <c:pt idx="154">
                  <c:v>2416</c:v>
                </c:pt>
                <c:pt idx="155">
                  <c:v>1873</c:v>
                </c:pt>
                <c:pt idx="156">
                  <c:v>1572</c:v>
                </c:pt>
                <c:pt idx="157">
                  <c:v>1638</c:v>
                </c:pt>
                <c:pt idx="158">
                  <c:v>725</c:v>
                </c:pt>
                <c:pt idx="159">
                  <c:v>383</c:v>
                </c:pt>
                <c:pt idx="160">
                  <c:v>1544</c:v>
                </c:pt>
                <c:pt idx="161">
                  <c:v>1690</c:v>
                </c:pt>
                <c:pt idx="162">
                  <c:v>1264</c:v>
                </c:pt>
                <c:pt idx="163">
                  <c:v>1223</c:v>
                </c:pt>
                <c:pt idx="164">
                  <c:v>1051</c:v>
                </c:pt>
                <c:pt idx="165">
                  <c:v>597</c:v>
                </c:pt>
                <c:pt idx="166">
                  <c:v>256</c:v>
                </c:pt>
                <c:pt idx="167">
                  <c:v>1129</c:v>
                </c:pt>
                <c:pt idx="168">
                  <c:v>1198</c:v>
                </c:pt>
                <c:pt idx="169">
                  <c:v>778</c:v>
                </c:pt>
                <c:pt idx="170">
                  <c:v>679</c:v>
                </c:pt>
                <c:pt idx="171">
                  <c:v>671</c:v>
                </c:pt>
                <c:pt idx="172">
                  <c:v>333</c:v>
                </c:pt>
                <c:pt idx="173">
                  <c:v>196</c:v>
                </c:pt>
                <c:pt idx="174">
                  <c:v>697</c:v>
                </c:pt>
                <c:pt idx="175">
                  <c:v>658</c:v>
                </c:pt>
                <c:pt idx="176">
                  <c:v>539</c:v>
                </c:pt>
                <c:pt idx="177">
                  <c:v>506</c:v>
                </c:pt>
                <c:pt idx="178">
                  <c:v>456</c:v>
                </c:pt>
                <c:pt idx="179">
                  <c:v>222</c:v>
                </c:pt>
                <c:pt idx="180">
                  <c:v>1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7D6-49D4-BBCA-40283A14DE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C$93:$C$274</c:f>
              <c:numCache>
                <c:formatCode>General</c:formatCode>
                <c:ptCount val="18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7D6-49D4-BBCA-40283A14DEDD}"/>
            </c:ext>
          </c:extLst>
        </c:ser>
        <c:ser>
          <c:idx val="3"/>
          <c:order val="2"/>
          <c:tx>
            <c:strRef>
              <c:f>Sheet1!$E$1</c:f>
              <c:strCache>
                <c:ptCount val="1"/>
                <c:pt idx="0">
                  <c:v>0,9</c:v>
                </c:pt>
              </c:strCache>
            </c:strRef>
          </c:tx>
          <c:spPr>
            <a:ln w="28575" cap="rnd">
              <a:solidFill>
                <a:srgbClr val="305983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E$93:$E$274</c:f>
              <c:numCache>
                <c:formatCode>General</c:formatCode>
                <c:ptCount val="182"/>
                <c:pt idx="88">
                  <c:v>13703.864506279357</c:v>
                </c:pt>
                <c:pt idx="89">
                  <c:v>13947.740085885691</c:v>
                </c:pt>
                <c:pt idx="90">
                  <c:v>14149.224572367377</c:v>
                </c:pt>
                <c:pt idx="91">
                  <c:v>14326.576891725252</c:v>
                </c:pt>
                <c:pt idx="92">
                  <c:v>14488.179540408461</c:v>
                </c:pt>
                <c:pt idx="93">
                  <c:v>14637.899366013678</c:v>
                </c:pt>
                <c:pt idx="94">
                  <c:v>14777.570225779313</c:v>
                </c:pt>
                <c:pt idx="95">
                  <c:v>14908.125523135202</c:v>
                </c:pt>
                <c:pt idx="96">
                  <c:v>15030.10431287298</c:v>
                </c:pt>
                <c:pt idx="97">
                  <c:v>15143.871212440938</c:v>
                </c:pt>
                <c:pt idx="98">
                  <c:v>15249.708435749646</c:v>
                </c:pt>
                <c:pt idx="99">
                  <c:v>15347.852537893776</c:v>
                </c:pt>
                <c:pt idx="100">
                  <c:v>15438.5084430508</c:v>
                </c:pt>
                <c:pt idx="101">
                  <c:v>15521.854901498873</c:v>
                </c:pt>
                <c:pt idx="102">
                  <c:v>15598.047204516557</c:v>
                </c:pt>
                <c:pt idx="103">
                  <c:v>15667.219343999815</c:v>
                </c:pt>
                <c:pt idx="104">
                  <c:v>15729.486285115383</c:v>
                </c:pt>
                <c:pt idx="105">
                  <c:v>15784.946440134854</c:v>
                </c:pt>
                <c:pt idx="106">
                  <c:v>15833.684248299791</c:v>
                </c:pt>
                <c:pt idx="107">
                  <c:v>15875.772738733451</c:v>
                </c:pt>
                <c:pt idx="108">
                  <c:v>15911.275977467594</c:v>
                </c:pt>
                <c:pt idx="109">
                  <c:v>15940.25133399808</c:v>
                </c:pt>
                <c:pt idx="110">
                  <c:v>15962.751532762984</c:v>
                </c:pt>
                <c:pt idx="111">
                  <c:v>15978.826476964043</c:v>
                </c:pt>
                <c:pt idx="112">
                  <c:v>15988.524846726856</c:v>
                </c:pt>
                <c:pt idx="113">
                  <c:v>15991.895482380527</c:v>
                </c:pt>
                <c:pt idx="114">
                  <c:v>15988.988568335462</c:v>
                </c:pt>
                <c:pt idx="115">
                  <c:v>15979.856635033955</c:v>
                </c:pt>
                <c:pt idx="116">
                  <c:v>15964.555396758153</c:v>
                </c:pt>
                <c:pt idx="117">
                  <c:v>15943.144442406874</c:v>
                </c:pt>
                <c:pt idx="118">
                  <c:v>15915.687795159907</c:v>
                </c:pt>
                <c:pt idx="119">
                  <c:v>15882.254355530424</c:v>
                </c:pt>
                <c:pt idx="120">
                  <c:v>15842.918240841871</c:v>
                </c:pt>
                <c:pt idx="121">
                  <c:v>15797.759032757598</c:v>
                </c:pt>
                <c:pt idx="122">
                  <c:v>15746.861943193822</c:v>
                </c:pt>
                <c:pt idx="123">
                  <c:v>15690.317907782257</c:v>
                </c:pt>
                <c:pt idx="124">
                  <c:v>15628.22361502286</c:v>
                </c:pt>
                <c:pt idx="125">
                  <c:v>15560.681478374674</c:v>
                </c:pt>
                <c:pt idx="126">
                  <c:v>15487.799557761642</c:v>
                </c:pt>
                <c:pt idx="127">
                  <c:v>15409.691436308502</c:v>
                </c:pt>
                <c:pt idx="128">
                  <c:v>15326.476057554019</c:v>
                </c:pt>
                <c:pt idx="129">
                  <c:v>15238.277527902354</c:v>
                </c:pt>
                <c:pt idx="130">
                  <c:v>15145.22488865537</c:v>
                </c:pt>
                <c:pt idx="131">
                  <c:v>15047.451861607735</c:v>
                </c:pt>
                <c:pt idx="132">
                  <c:v>14945.096571873641</c:v>
                </c:pt>
                <c:pt idx="133">
                  <c:v>14838.301251339421</c:v>
                </c:pt>
                <c:pt idx="134">
                  <c:v>14727.211925893771</c:v>
                </c:pt>
                <c:pt idx="135">
                  <c:v>14611.978089370503</c:v>
                </c:pt>
                <c:pt idx="136">
                  <c:v>14492.752366941924</c:v>
                </c:pt>
                <c:pt idx="137">
                  <c:v>14369.690170521166</c:v>
                </c:pt>
                <c:pt idx="138">
                  <c:v>14242.949348564311</c:v>
                </c:pt>
                <c:pt idx="139">
                  <c:v>14112.689832506207</c:v>
                </c:pt>
                <c:pt idx="140">
                  <c:v>13979.073281914618</c:v>
                </c:pt>
                <c:pt idx="141">
                  <c:v>13842.262730304588</c:v>
                </c:pt>
                <c:pt idx="142">
                  <c:v>13702.422233416957</c:v>
                </c:pt>
                <c:pt idx="143">
                  <c:v>13559.716521630915</c:v>
                </c:pt>
                <c:pt idx="144">
                  <c:v>13414.310658050177</c:v>
                </c:pt>
                <c:pt idx="145">
                  <c:v>13266.369703674438</c:v>
                </c:pt>
                <c:pt idx="146">
                  <c:v>13116.058390943021</c:v>
                </c:pt>
                <c:pt idx="147">
                  <c:v>12963.540806815072</c:v>
                </c:pt>
                <c:pt idx="148">
                  <c:v>12808.980086430933</c:v>
                </c:pt>
                <c:pt idx="149">
                  <c:v>12652.53811828232</c:v>
                </c:pt>
                <c:pt idx="150">
                  <c:v>12494.375261704727</c:v>
                </c:pt>
                <c:pt idx="151" formatCode="#,##0">
                  <c:v>12334.650077394488</c:v>
                </c:pt>
                <c:pt idx="152" formatCode="#,##0">
                  <c:v>12173.519071545517</c:v>
                </c:pt>
                <c:pt idx="153" formatCode="#,##0">
                  <c:v>12011.136454096581</c:v>
                </c:pt>
                <c:pt idx="154" formatCode="#,##0">
                  <c:v>11847.653911480365</c:v>
                </c:pt>
                <c:pt idx="155" formatCode="#,##0">
                  <c:v>11683.220394169555</c:v>
                </c:pt>
                <c:pt idx="156" formatCode="#,##0">
                  <c:v>11517.981919224159</c:v>
                </c:pt>
                <c:pt idx="157" formatCode="#,##0">
                  <c:v>11352.08138795762</c:v>
                </c:pt>
                <c:pt idx="158" formatCode="#,##0">
                  <c:v>11185.658418757575</c:v>
                </c:pt>
                <c:pt idx="159" formatCode="#,##0">
                  <c:v>11018.849195020563</c:v>
                </c:pt>
                <c:pt idx="160" formatCode="#,##0">
                  <c:v>10851.78632808833</c:v>
                </c:pt>
                <c:pt idx="161" formatCode="#,##0">
                  <c:v>10684.598735007381</c:v>
                </c:pt>
                <c:pt idx="162" formatCode="#,##0">
                  <c:v>10517.41153087225</c:v>
                </c:pt>
                <c:pt idx="163" formatCode="#,##0">
                  <c:v>10350.34593545749</c:v>
                </c:pt>
                <c:pt idx="164" formatCode="#,##0">
                  <c:v>10183.519193792981</c:v>
                </c:pt>
                <c:pt idx="165" formatCode="#,##0">
                  <c:v>10017.044510292133</c:v>
                </c:pt>
                <c:pt idx="166" formatCode="#,##0">
                  <c:v>9851.0309960025079</c:v>
                </c:pt>
                <c:pt idx="167" formatCode="#,##0">
                  <c:v>9685.5836285136211</c:v>
                </c:pt>
                <c:pt idx="168" formatCode="#,##0">
                  <c:v>9520.8032240265748</c:v>
                </c:pt>
                <c:pt idx="169" formatCode="#,##0">
                  <c:v>9356.7864210649568</c:v>
                </c:pt>
                <c:pt idx="170" formatCode="#,##0">
                  <c:v>9193.6256752857098</c:v>
                </c:pt>
                <c:pt idx="171" formatCode="#,##0">
                  <c:v>9031.4092648322239</c:v>
                </c:pt>
                <c:pt idx="172" formatCode="#,##0">
                  <c:v>8870.2213056597575</c:v>
                </c:pt>
                <c:pt idx="173" formatCode="#,##0">
                  <c:v>8710.1417762547771</c:v>
                </c:pt>
                <c:pt idx="174" formatCode="#,##0">
                  <c:v>8551.2465511651244</c:v>
                </c:pt>
                <c:pt idx="175" formatCode="#,##0">
                  <c:v>8393.6074427566346</c:v>
                </c:pt>
                <c:pt idx="176" formatCode="#,##0">
                  <c:v>8237.2922506135019</c:v>
                </c:pt>
                <c:pt idx="177" formatCode="#,##0">
                  <c:v>8082.3648180044675</c:v>
                </c:pt>
                <c:pt idx="178" formatCode="#,##0">
                  <c:v>7928.885094844276</c:v>
                </c:pt>
                <c:pt idx="179" formatCode="#,##0">
                  <c:v>7776.9092065893965</c:v>
                </c:pt>
                <c:pt idx="180" formatCode="#,##0">
                  <c:v>7626.4895285190469</c:v>
                </c:pt>
                <c:pt idx="181" formatCode="#,##0">
                  <c:v>7477.6747648661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7D6-49D4-BBCA-40283A14DEDD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00CD6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F$93:$F$274</c:f>
              <c:numCache>
                <c:formatCode>General</c:formatCode>
                <c:ptCount val="182"/>
                <c:pt idx="88">
                  <c:v>13565.398587364976</c:v>
                </c:pt>
                <c:pt idx="89">
                  <c:v>13597.620772138698</c:v>
                </c:pt>
                <c:pt idx="90">
                  <c:v>13548.918318527833</c:v>
                </c:pt>
                <c:pt idx="91">
                  <c:v>13455.939457546039</c:v>
                </c:pt>
                <c:pt idx="92">
                  <c:v>13336.901120744071</c:v>
                </c:pt>
                <c:pt idx="93">
                  <c:v>13201.041345989797</c:v>
                </c:pt>
                <c:pt idx="94">
                  <c:v>13053.250245753177</c:v>
                </c:pt>
                <c:pt idx="95">
                  <c:v>12896.318961767711</c:v>
                </c:pt>
                <c:pt idx="96">
                  <c:v>12732.020108445684</c:v>
                </c:pt>
                <c:pt idx="97">
                  <c:v>12561.620250351514</c:v>
                </c:pt>
                <c:pt idx="98">
                  <c:v>12386.119621972726</c:v>
                </c:pt>
                <c:pt idx="99">
                  <c:v>12206.362920696471</c:v>
                </c:pt>
                <c:pt idx="100">
                  <c:v>12023.090421835983</c:v>
                </c:pt>
                <c:pt idx="101">
                  <c:v>11836.962221911288</c:v>
                </c:pt>
                <c:pt idx="102">
                  <c:v>11648.570807348526</c:v>
                </c:pt>
                <c:pt idx="103">
                  <c:v>11458.448766482525</c:v>
                </c:pt>
                <c:pt idx="104">
                  <c:v>11267.074560520114</c:v>
                </c:pt>
                <c:pt idx="105">
                  <c:v>11074.877508179043</c:v>
                </c:pt>
                <c:pt idx="106">
                  <c:v>10882.242381785769</c:v>
                </c:pt>
                <c:pt idx="107">
                  <c:v>10689.513712989812</c:v>
                </c:pt>
                <c:pt idx="108">
                  <c:v>10496.999805791134</c:v>
                </c:pt>
                <c:pt idx="109">
                  <c:v>10304.976434519584</c:v>
                </c:pt>
                <c:pt idx="110">
                  <c:v>10113.69021224228</c:v>
                </c:pt>
                <c:pt idx="111">
                  <c:v>9923.361629071529</c:v>
                </c:pt>
                <c:pt idx="112">
                  <c:v>9734.1877720736393</c:v>
                </c:pt>
                <c:pt idx="113">
                  <c:v>9546.3447468654849</c:v>
                </c:pt>
                <c:pt idx="114">
                  <c:v>9359.989825699653</c:v>
                </c:pt>
                <c:pt idx="115">
                  <c:v>9175.2633487234507</c:v>
                </c:pt>
                <c:pt idx="116">
                  <c:v>8992.2904050442994</c:v>
                </c:pt>
                <c:pt idx="117">
                  <c:v>8811.1823189776806</c:v>
                </c:pt>
                <c:pt idx="118">
                  <c:v>8632.0379649301503</c:v>
                </c:pt>
                <c:pt idx="119">
                  <c:v>8454.9449321447137</c:v>
                </c:pt>
                <c:pt idx="120">
                  <c:v>8279.9805582433582</c:v>
                </c:pt>
                <c:pt idx="121">
                  <c:v>8107.2128482826047</c:v>
                </c:pt>
                <c:pt idx="122">
                  <c:v>7936.701293970641</c:v>
                </c:pt>
                <c:pt idx="123">
                  <c:v>7768.4976058159664</c:v>
                </c:pt>
                <c:pt idx="124">
                  <c:v>7602.6463692990101</c:v>
                </c:pt>
                <c:pt idx="125">
                  <c:v>7439.1856346759896</c:v>
                </c:pt>
                <c:pt idx="126">
                  <c:v>7278.1474487267014</c:v>
                </c:pt>
                <c:pt idx="127">
                  <c:v>7119.5583356283587</c:v>
                </c:pt>
                <c:pt idx="128">
                  <c:v>6963.4397331588161</c:v>
                </c:pt>
                <c:pt idx="129">
                  <c:v>6809.8083895867212</c:v>
                </c:pt>
                <c:pt idx="130">
                  <c:v>6658.6767258768996</c:v>
                </c:pt>
                <c:pt idx="131">
                  <c:v>6510.0531672116349</c:v>
                </c:pt>
                <c:pt idx="132">
                  <c:v>6363.942447288402</c:v>
                </c:pt>
                <c:pt idx="133">
                  <c:v>6220.3458883906142</c:v>
                </c:pt>
                <c:pt idx="134">
                  <c:v>6079.2616598290442</c:v>
                </c:pt>
                <c:pt idx="135">
                  <c:v>5940.6850170089601</c:v>
                </c:pt>
                <c:pt idx="136">
                  <c:v>5804.6085230835033</c:v>
                </c:pt>
                <c:pt idx="137">
                  <c:v>5671.0222549007694</c:v>
                </c:pt>
                <c:pt idx="138">
                  <c:v>5539.9139947345457</c:v>
                </c:pt>
                <c:pt idx="139">
                  <c:v>5411.2694091014473</c:v>
                </c:pt>
                <c:pt idx="140">
                  <c:v>5285.072215806259</c:v>
                </c:pt>
                <c:pt idx="141">
                  <c:v>5161.3043402186613</c:v>
                </c:pt>
                <c:pt idx="142">
                  <c:v>5039.9460616651231</c:v>
                </c:pt>
                <c:pt idx="143">
                  <c:v>4920.9761507168096</c:v>
                </c:pt>
                <c:pt idx="144">
                  <c:v>4804.3719980655906</c:v>
                </c:pt>
                <c:pt idx="145">
                  <c:v>4690.1097356035389</c:v>
                </c:pt>
                <c:pt idx="146">
                  <c:v>4578.1643502550887</c:v>
                </c:pt>
                <c:pt idx="147">
                  <c:v>4468.5097910536624</c:v>
                </c:pt>
                <c:pt idx="148">
                  <c:v>4361.1190699049157</c:v>
                </c:pt>
                <c:pt idx="149">
                  <c:v>4255.9643564357075</c:v>
                </c:pt>
                <c:pt idx="150">
                  <c:v>4153.017067290396</c:v>
                </c:pt>
                <c:pt idx="151" formatCode="#,##0">
                  <c:v>4052.2479502035376</c:v>
                </c:pt>
                <c:pt idx="152" formatCode="#,##0">
                  <c:v>3953.6271631495847</c:v>
                </c:pt>
                <c:pt idx="153" formatCode="#,##0">
                  <c:v>3857.1243488453674</c:v>
                </c:pt>
                <c:pt idx="154" formatCode="#,##0">
                  <c:v>3762.7087048593494</c:v>
                </c:pt>
                <c:pt idx="155" formatCode="#,##0">
                  <c:v>3670.3490495624683</c:v>
                </c:pt>
                <c:pt idx="156" formatCode="#,##0">
                  <c:v>3580.0138841385356</c:v>
                </c:pt>
                <c:pt idx="157" formatCode="#,##0">
                  <c:v>3491.6714508571886</c:v>
                </c:pt>
                <c:pt idx="158" formatCode="#,##0">
                  <c:v>3405.2897877991431</c:v>
                </c:pt>
                <c:pt idx="159" formatCode="#,##0">
                  <c:v>3320.8367802116381</c:v>
                </c:pt>
                <c:pt idx="160" formatCode="#,##0">
                  <c:v>3238.2802086613838</c:v>
                </c:pt>
                <c:pt idx="161" formatCode="#,##0">
                  <c:v>3157.5877941427698</c:v>
                </c:pt>
                <c:pt idx="162" formatCode="#,##0">
                  <c:v>3078.7272402904882</c:v>
                </c:pt>
                <c:pt idx="163" formatCode="#,##0">
                  <c:v>3001.6662728378628</c:v>
                </c:pt>
                <c:pt idx="164" formatCode="#,##0">
                  <c:v>2926.3726764550584</c:v>
                </c:pt>
                <c:pt idx="165" formatCode="#,##0">
                  <c:v>2852.8143290947587</c:v>
                </c:pt>
                <c:pt idx="166" formatCode="#,##0">
                  <c:v>2780.9592339668447</c:v>
                </c:pt>
                <c:pt idx="167" formatCode="#,##0">
                  <c:v>2710.7755492580272</c:v>
                </c:pt>
                <c:pt idx="168" formatCode="#,##0">
                  <c:v>2642.2316157071173</c:v>
                </c:pt>
                <c:pt idx="169" formatCode="#,##0">
                  <c:v>2575.2959821417821</c:v>
                </c:pt>
                <c:pt idx="170" formatCode="#,##0">
                  <c:v>2509.9374290780111</c:v>
                </c:pt>
                <c:pt idx="171" formatCode="#,##0">
                  <c:v>2446.1249904791971</c:v>
                </c:pt>
                <c:pt idx="172" formatCode="#,##0">
                  <c:v>2383.8279737676639</c:v>
                </c:pt>
                <c:pt idx="173" formatCode="#,##0">
                  <c:v>2323.0159781775351</c:v>
                </c:pt>
                <c:pt idx="174" formatCode="#,##0">
                  <c:v>2263.6589115341962</c:v>
                </c:pt>
                <c:pt idx="175" formatCode="#,##0">
                  <c:v>2205.7270055419972</c:v>
                </c:pt>
                <c:pt idx="176" formatCode="#,##0">
                  <c:v>2149.190829658527</c:v>
                </c:pt>
                <c:pt idx="177" formatCode="#,##0">
                  <c:v>2094.0213036304749</c:v>
                </c:pt>
                <c:pt idx="178" formatCode="#,##0">
                  <c:v>2040.1897087630277</c:v>
                </c:pt>
                <c:pt idx="179" formatCode="#,##0">
                  <c:v>1987.667697991727</c:v>
                </c:pt>
                <c:pt idx="180" formatCode="#,##0">
                  <c:v>1936.4273048228154</c:v>
                </c:pt>
                <c:pt idx="181" formatCode="#,##0">
                  <c:v>1886.44095120532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7D6-49D4-BBCA-40283A14DE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19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5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B$93:$B$274</c:f>
              <c:numCache>
                <c:formatCode>0</c:formatCode>
                <c:ptCount val="182"/>
                <c:pt idx="0">
                  <c:v>5180</c:v>
                </c:pt>
                <c:pt idx="1">
                  <c:v>4561</c:v>
                </c:pt>
                <c:pt idx="2">
                  <c:v>4624</c:v>
                </c:pt>
                <c:pt idx="3">
                  <c:v>4747</c:v>
                </c:pt>
                <c:pt idx="4">
                  <c:v>3312</c:v>
                </c:pt>
                <c:pt idx="5">
                  <c:v>1112</c:v>
                </c:pt>
                <c:pt idx="6">
                  <c:v>4251</c:v>
                </c:pt>
                <c:pt idx="7">
                  <c:v>5855</c:v>
                </c:pt>
                <c:pt idx="8">
                  <c:v>6415</c:v>
                </c:pt>
                <c:pt idx="9">
                  <c:v>5872</c:v>
                </c:pt>
                <c:pt idx="10">
                  <c:v>6209</c:v>
                </c:pt>
                <c:pt idx="11">
                  <c:v>3655</c:v>
                </c:pt>
                <c:pt idx="12">
                  <c:v>1998</c:v>
                </c:pt>
                <c:pt idx="13">
                  <c:v>5176</c:v>
                </c:pt>
                <c:pt idx="14">
                  <c:v>7908</c:v>
                </c:pt>
                <c:pt idx="15">
                  <c:v>8258</c:v>
                </c:pt>
                <c:pt idx="16">
                  <c:v>7614</c:v>
                </c:pt>
                <c:pt idx="17">
                  <c:v>8838</c:v>
                </c:pt>
                <c:pt idx="18">
                  <c:v>5326</c:v>
                </c:pt>
                <c:pt idx="19">
                  <c:v>3403</c:v>
                </c:pt>
                <c:pt idx="20">
                  <c:v>7950</c:v>
                </c:pt>
                <c:pt idx="21">
                  <c:v>10915</c:v>
                </c:pt>
                <c:pt idx="22">
                  <c:v>14139</c:v>
                </c:pt>
                <c:pt idx="23">
                  <c:v>4373</c:v>
                </c:pt>
                <c:pt idx="24">
                  <c:v>2671</c:v>
                </c:pt>
                <c:pt idx="25">
                  <c:v>3031</c:v>
                </c:pt>
                <c:pt idx="26">
                  <c:v>3783</c:v>
                </c:pt>
                <c:pt idx="27">
                  <c:v>10937</c:v>
                </c:pt>
                <c:pt idx="28">
                  <c:v>16476</c:v>
                </c:pt>
                <c:pt idx="29">
                  <c:v>17061</c:v>
                </c:pt>
                <c:pt idx="30">
                  <c:v>13308</c:v>
                </c:pt>
                <c:pt idx="31">
                  <c:v>3446</c:v>
                </c:pt>
                <c:pt idx="32">
                  <c:v>4984</c:v>
                </c:pt>
                <c:pt idx="33">
                  <c:v>6268</c:v>
                </c:pt>
                <c:pt idx="34">
                  <c:v>12956</c:v>
                </c:pt>
                <c:pt idx="35">
                  <c:v>17401</c:v>
                </c:pt>
                <c:pt idx="36">
                  <c:v>17770</c:v>
                </c:pt>
                <c:pt idx="37">
                  <c:v>14882</c:v>
                </c:pt>
                <c:pt idx="38">
                  <c:v>13099</c:v>
                </c:pt>
                <c:pt idx="39">
                  <c:v>8438</c:v>
                </c:pt>
                <c:pt idx="40">
                  <c:v>4313</c:v>
                </c:pt>
                <c:pt idx="41">
                  <c:v>9386</c:v>
                </c:pt>
                <c:pt idx="42">
                  <c:v>10811</c:v>
                </c:pt>
                <c:pt idx="43">
                  <c:v>10922</c:v>
                </c:pt>
                <c:pt idx="44">
                  <c:v>8088</c:v>
                </c:pt>
                <c:pt idx="45">
                  <c:v>9301</c:v>
                </c:pt>
                <c:pt idx="46">
                  <c:v>5242</c:v>
                </c:pt>
                <c:pt idx="47">
                  <c:v>2641</c:v>
                </c:pt>
                <c:pt idx="48">
                  <c:v>7668</c:v>
                </c:pt>
                <c:pt idx="49">
                  <c:v>9610</c:v>
                </c:pt>
                <c:pt idx="50">
                  <c:v>8216</c:v>
                </c:pt>
                <c:pt idx="51">
                  <c:v>7534</c:v>
                </c:pt>
                <c:pt idx="52">
                  <c:v>8468</c:v>
                </c:pt>
                <c:pt idx="53">
                  <c:v>4239</c:v>
                </c:pt>
                <c:pt idx="54">
                  <c:v>2394</c:v>
                </c:pt>
                <c:pt idx="55">
                  <c:v>6974</c:v>
                </c:pt>
                <c:pt idx="56">
                  <c:v>9196</c:v>
                </c:pt>
                <c:pt idx="57">
                  <c:v>8504</c:v>
                </c:pt>
                <c:pt idx="58">
                  <c:v>8010</c:v>
                </c:pt>
                <c:pt idx="59">
                  <c:v>8052</c:v>
                </c:pt>
                <c:pt idx="60">
                  <c:v>4055</c:v>
                </c:pt>
                <c:pt idx="61">
                  <c:v>2573</c:v>
                </c:pt>
                <c:pt idx="62">
                  <c:v>7217</c:v>
                </c:pt>
                <c:pt idx="63">
                  <c:v>9150</c:v>
                </c:pt>
                <c:pt idx="64">
                  <c:v>9667</c:v>
                </c:pt>
                <c:pt idx="65">
                  <c:v>8108</c:v>
                </c:pt>
                <c:pt idx="66">
                  <c:v>8623</c:v>
                </c:pt>
                <c:pt idx="67">
                  <c:v>4820</c:v>
                </c:pt>
                <c:pt idx="68">
                  <c:v>2451</c:v>
                </c:pt>
                <c:pt idx="69">
                  <c:v>7777</c:v>
                </c:pt>
                <c:pt idx="70">
                  <c:v>10282</c:v>
                </c:pt>
                <c:pt idx="71">
                  <c:v>9539</c:v>
                </c:pt>
                <c:pt idx="72">
                  <c:v>9018</c:v>
                </c:pt>
                <c:pt idx="73">
                  <c:v>8830</c:v>
                </c:pt>
                <c:pt idx="74">
                  <c:v>5141</c:v>
                </c:pt>
                <c:pt idx="75">
                  <c:v>2880</c:v>
                </c:pt>
                <c:pt idx="76">
                  <c:v>8905</c:v>
                </c:pt>
                <c:pt idx="77">
                  <c:v>12608</c:v>
                </c:pt>
                <c:pt idx="78">
                  <c:v>10939</c:v>
                </c:pt>
                <c:pt idx="79">
                  <c:v>11704</c:v>
                </c:pt>
                <c:pt idx="80">
                  <c:v>11288</c:v>
                </c:pt>
                <c:pt idx="81">
                  <c:v>6775</c:v>
                </c:pt>
                <c:pt idx="82">
                  <c:v>4068</c:v>
                </c:pt>
                <c:pt idx="83">
                  <c:v>11410</c:v>
                </c:pt>
                <c:pt idx="84">
                  <c:v>15840</c:v>
                </c:pt>
                <c:pt idx="85">
                  <c:v>13796</c:v>
                </c:pt>
                <c:pt idx="86">
                  <c:v>14588</c:v>
                </c:pt>
                <c:pt idx="87">
                  <c:v>14775</c:v>
                </c:pt>
                <c:pt idx="88">
                  <c:v>7824</c:v>
                </c:pt>
                <c:pt idx="89">
                  <c:v>4587</c:v>
                </c:pt>
                <c:pt idx="90">
                  <c:v>12325</c:v>
                </c:pt>
                <c:pt idx="91">
                  <c:v>16779</c:v>
                </c:pt>
                <c:pt idx="92">
                  <c:v>15238</c:v>
                </c:pt>
                <c:pt idx="93">
                  <c:v>14649</c:v>
                </c:pt>
                <c:pt idx="94">
                  <c:v>13169</c:v>
                </c:pt>
                <c:pt idx="95">
                  <c:v>9130</c:v>
                </c:pt>
                <c:pt idx="96">
                  <c:v>3983</c:v>
                </c:pt>
                <c:pt idx="97">
                  <c:v>10653</c:v>
                </c:pt>
                <c:pt idx="98">
                  <c:v>15361</c:v>
                </c:pt>
                <c:pt idx="99">
                  <c:v>14537</c:v>
                </c:pt>
                <c:pt idx="100">
                  <c:v>11245</c:v>
                </c:pt>
                <c:pt idx="101">
                  <c:v>14960</c:v>
                </c:pt>
                <c:pt idx="102">
                  <c:v>6956</c:v>
                </c:pt>
                <c:pt idx="103">
                  <c:v>3333</c:v>
                </c:pt>
                <c:pt idx="104">
                  <c:v>10630</c:v>
                </c:pt>
                <c:pt idx="105">
                  <c:v>14028</c:v>
                </c:pt>
                <c:pt idx="106">
                  <c:v>12028</c:v>
                </c:pt>
                <c:pt idx="107">
                  <c:v>10661</c:v>
                </c:pt>
                <c:pt idx="108">
                  <c:v>9709</c:v>
                </c:pt>
                <c:pt idx="109">
                  <c:v>5466</c:v>
                </c:pt>
                <c:pt idx="110">
                  <c:v>2391</c:v>
                </c:pt>
                <c:pt idx="111">
                  <c:v>8239</c:v>
                </c:pt>
                <c:pt idx="112">
                  <c:v>10968</c:v>
                </c:pt>
                <c:pt idx="113">
                  <c:v>8848</c:v>
                </c:pt>
                <c:pt idx="114">
                  <c:v>7926</c:v>
                </c:pt>
                <c:pt idx="115">
                  <c:v>7712</c:v>
                </c:pt>
                <c:pt idx="116">
                  <c:v>3969</c:v>
                </c:pt>
                <c:pt idx="117">
                  <c:v>1744</c:v>
                </c:pt>
                <c:pt idx="118">
                  <c:v>6935</c:v>
                </c:pt>
                <c:pt idx="119">
                  <c:v>8630</c:v>
                </c:pt>
                <c:pt idx="120">
                  <c:v>7263</c:v>
                </c:pt>
                <c:pt idx="121">
                  <c:v>6245</c:v>
                </c:pt>
                <c:pt idx="122">
                  <c:v>3837</c:v>
                </c:pt>
                <c:pt idx="123">
                  <c:v>2160</c:v>
                </c:pt>
                <c:pt idx="124">
                  <c:v>1925</c:v>
                </c:pt>
                <c:pt idx="125">
                  <c:v>1419</c:v>
                </c:pt>
                <c:pt idx="126">
                  <c:v>5583</c:v>
                </c:pt>
                <c:pt idx="127">
                  <c:v>7052</c:v>
                </c:pt>
                <c:pt idx="128">
                  <c:v>5281</c:v>
                </c:pt>
                <c:pt idx="129">
                  <c:v>4819</c:v>
                </c:pt>
                <c:pt idx="130">
                  <c:v>2204</c:v>
                </c:pt>
                <c:pt idx="131">
                  <c:v>985</c:v>
                </c:pt>
                <c:pt idx="132">
                  <c:v>3868</c:v>
                </c:pt>
                <c:pt idx="133">
                  <c:v>5056</c:v>
                </c:pt>
                <c:pt idx="134">
                  <c:v>3715</c:v>
                </c:pt>
                <c:pt idx="135">
                  <c:v>3263</c:v>
                </c:pt>
                <c:pt idx="136">
                  <c:v>3217</c:v>
                </c:pt>
                <c:pt idx="137">
                  <c:v>1541</c:v>
                </c:pt>
                <c:pt idx="138">
                  <c:v>833</c:v>
                </c:pt>
                <c:pt idx="139">
                  <c:v>3341</c:v>
                </c:pt>
                <c:pt idx="140">
                  <c:v>3815</c:v>
                </c:pt>
                <c:pt idx="141">
                  <c:v>2951</c:v>
                </c:pt>
                <c:pt idx="142">
                  <c:v>2628</c:v>
                </c:pt>
                <c:pt idx="143">
                  <c:v>2601</c:v>
                </c:pt>
                <c:pt idx="144">
                  <c:v>1307</c:v>
                </c:pt>
                <c:pt idx="145">
                  <c:v>825</c:v>
                </c:pt>
                <c:pt idx="146">
                  <c:v>2579</c:v>
                </c:pt>
                <c:pt idx="147">
                  <c:v>3238</c:v>
                </c:pt>
                <c:pt idx="148">
                  <c:v>2488</c:v>
                </c:pt>
                <c:pt idx="149">
                  <c:v>2228</c:v>
                </c:pt>
                <c:pt idx="150">
                  <c:v>2166</c:v>
                </c:pt>
                <c:pt idx="151">
                  <c:v>1171</c:v>
                </c:pt>
                <c:pt idx="152">
                  <c:v>508</c:v>
                </c:pt>
                <c:pt idx="153">
                  <c:v>2217</c:v>
                </c:pt>
                <c:pt idx="154">
                  <c:v>2416</c:v>
                </c:pt>
                <c:pt idx="155">
                  <c:v>1873</c:v>
                </c:pt>
                <c:pt idx="156">
                  <c:v>1572</c:v>
                </c:pt>
                <c:pt idx="157">
                  <c:v>1638</c:v>
                </c:pt>
                <c:pt idx="158">
                  <c:v>725</c:v>
                </c:pt>
                <c:pt idx="159">
                  <c:v>383</c:v>
                </c:pt>
                <c:pt idx="160">
                  <c:v>1544</c:v>
                </c:pt>
                <c:pt idx="161">
                  <c:v>1690</c:v>
                </c:pt>
                <c:pt idx="162">
                  <c:v>1264</c:v>
                </c:pt>
                <c:pt idx="163">
                  <c:v>1223</c:v>
                </c:pt>
                <c:pt idx="164">
                  <c:v>1051</c:v>
                </c:pt>
                <c:pt idx="165">
                  <c:v>597</c:v>
                </c:pt>
                <c:pt idx="166">
                  <c:v>256</c:v>
                </c:pt>
                <c:pt idx="167">
                  <c:v>1129</c:v>
                </c:pt>
                <c:pt idx="168">
                  <c:v>1198</c:v>
                </c:pt>
                <c:pt idx="169">
                  <c:v>778</c:v>
                </c:pt>
                <c:pt idx="170">
                  <c:v>679</c:v>
                </c:pt>
                <c:pt idx="171">
                  <c:v>671</c:v>
                </c:pt>
                <c:pt idx="172">
                  <c:v>333</c:v>
                </c:pt>
                <c:pt idx="173">
                  <c:v>196</c:v>
                </c:pt>
                <c:pt idx="174">
                  <c:v>697</c:v>
                </c:pt>
                <c:pt idx="175">
                  <c:v>658</c:v>
                </c:pt>
                <c:pt idx="176">
                  <c:v>539</c:v>
                </c:pt>
                <c:pt idx="177">
                  <c:v>506</c:v>
                </c:pt>
                <c:pt idx="178">
                  <c:v>456</c:v>
                </c:pt>
                <c:pt idx="179">
                  <c:v>222</c:v>
                </c:pt>
                <c:pt idx="180">
                  <c:v>1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7D6-49D4-BBCA-40283A14DE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C$93:$C$274</c:f>
              <c:numCache>
                <c:formatCode>General</c:formatCode>
                <c:ptCount val="18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7D6-49D4-BBCA-40283A14DEDD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00CD6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F$93:$F$274</c:f>
              <c:numCache>
                <c:formatCode>General</c:formatCode>
                <c:ptCount val="182"/>
                <c:pt idx="88">
                  <c:v>13565.398587364976</c:v>
                </c:pt>
                <c:pt idx="89">
                  <c:v>13597.620772138698</c:v>
                </c:pt>
                <c:pt idx="90">
                  <c:v>13548.918318527833</c:v>
                </c:pt>
                <c:pt idx="91">
                  <c:v>13455.939457546039</c:v>
                </c:pt>
                <c:pt idx="92">
                  <c:v>13336.901120744071</c:v>
                </c:pt>
                <c:pt idx="93">
                  <c:v>13201.041345989797</c:v>
                </c:pt>
                <c:pt idx="94">
                  <c:v>13053.250245753177</c:v>
                </c:pt>
                <c:pt idx="95">
                  <c:v>12896.318961767711</c:v>
                </c:pt>
                <c:pt idx="96">
                  <c:v>12732.020108445684</c:v>
                </c:pt>
                <c:pt idx="97">
                  <c:v>12561.620250351514</c:v>
                </c:pt>
                <c:pt idx="98">
                  <c:v>12386.119621972726</c:v>
                </c:pt>
                <c:pt idx="99">
                  <c:v>12206.362920696471</c:v>
                </c:pt>
                <c:pt idx="100">
                  <c:v>12023.090421835983</c:v>
                </c:pt>
                <c:pt idx="101">
                  <c:v>11836.962221911288</c:v>
                </c:pt>
                <c:pt idx="102">
                  <c:v>11648.570807348526</c:v>
                </c:pt>
                <c:pt idx="103">
                  <c:v>11458.448766482525</c:v>
                </c:pt>
                <c:pt idx="104">
                  <c:v>11267.074560520114</c:v>
                </c:pt>
                <c:pt idx="105">
                  <c:v>11074.877508179043</c:v>
                </c:pt>
                <c:pt idx="106">
                  <c:v>10882.242381785769</c:v>
                </c:pt>
                <c:pt idx="107">
                  <c:v>10689.513712989812</c:v>
                </c:pt>
                <c:pt idx="108">
                  <c:v>10496.999805791134</c:v>
                </c:pt>
                <c:pt idx="109">
                  <c:v>10304.976434519584</c:v>
                </c:pt>
                <c:pt idx="110">
                  <c:v>10113.69021224228</c:v>
                </c:pt>
                <c:pt idx="111">
                  <c:v>9923.361629071529</c:v>
                </c:pt>
                <c:pt idx="112">
                  <c:v>9734.1877720736393</c:v>
                </c:pt>
                <c:pt idx="113">
                  <c:v>9546.3447468654849</c:v>
                </c:pt>
                <c:pt idx="114">
                  <c:v>9359.989825699653</c:v>
                </c:pt>
                <c:pt idx="115">
                  <c:v>9175.2633487234507</c:v>
                </c:pt>
                <c:pt idx="116">
                  <c:v>8992.2904050442994</c:v>
                </c:pt>
                <c:pt idx="117">
                  <c:v>8811.1823189776806</c:v>
                </c:pt>
                <c:pt idx="118">
                  <c:v>8632.0379649301503</c:v>
                </c:pt>
                <c:pt idx="119">
                  <c:v>8454.9449321447137</c:v>
                </c:pt>
                <c:pt idx="120">
                  <c:v>8279.9805582433582</c:v>
                </c:pt>
                <c:pt idx="121">
                  <c:v>8107.2128482826047</c:v>
                </c:pt>
                <c:pt idx="122">
                  <c:v>7936.701293970641</c:v>
                </c:pt>
                <c:pt idx="123">
                  <c:v>7768.4976058159664</c:v>
                </c:pt>
                <c:pt idx="124">
                  <c:v>7602.6463692990101</c:v>
                </c:pt>
                <c:pt idx="125">
                  <c:v>7439.1856346759896</c:v>
                </c:pt>
                <c:pt idx="126">
                  <c:v>7278.1474487267014</c:v>
                </c:pt>
                <c:pt idx="127">
                  <c:v>7119.5583356283587</c:v>
                </c:pt>
                <c:pt idx="128">
                  <c:v>6963.4397331588161</c:v>
                </c:pt>
                <c:pt idx="129">
                  <c:v>6809.8083895867212</c:v>
                </c:pt>
                <c:pt idx="130">
                  <c:v>6658.6767258768996</c:v>
                </c:pt>
                <c:pt idx="131">
                  <c:v>6510.0531672116349</c:v>
                </c:pt>
                <c:pt idx="132">
                  <c:v>6363.942447288402</c:v>
                </c:pt>
                <c:pt idx="133">
                  <c:v>6220.3458883906142</c:v>
                </c:pt>
                <c:pt idx="134">
                  <c:v>6079.2616598290442</c:v>
                </c:pt>
                <c:pt idx="135">
                  <c:v>5940.6850170089601</c:v>
                </c:pt>
                <c:pt idx="136">
                  <c:v>5804.6085230835033</c:v>
                </c:pt>
                <c:pt idx="137">
                  <c:v>5671.0222549007694</c:v>
                </c:pt>
                <c:pt idx="138">
                  <c:v>5539.9139947345457</c:v>
                </c:pt>
                <c:pt idx="139">
                  <c:v>5411.2694091014473</c:v>
                </c:pt>
                <c:pt idx="140">
                  <c:v>5285.072215806259</c:v>
                </c:pt>
                <c:pt idx="141">
                  <c:v>5161.3043402186613</c:v>
                </c:pt>
                <c:pt idx="142">
                  <c:v>5039.9460616651231</c:v>
                </c:pt>
                <c:pt idx="143">
                  <c:v>4920.9761507168096</c:v>
                </c:pt>
                <c:pt idx="144">
                  <c:v>4804.3719980655906</c:v>
                </c:pt>
                <c:pt idx="145">
                  <c:v>4690.1097356035389</c:v>
                </c:pt>
                <c:pt idx="146">
                  <c:v>4578.1643502550887</c:v>
                </c:pt>
                <c:pt idx="147">
                  <c:v>4468.5097910536624</c:v>
                </c:pt>
                <c:pt idx="148">
                  <c:v>4361.1190699049157</c:v>
                </c:pt>
                <c:pt idx="149">
                  <c:v>4255.9643564357075</c:v>
                </c:pt>
                <c:pt idx="150">
                  <c:v>4153.017067290396</c:v>
                </c:pt>
                <c:pt idx="151" formatCode="#,##0">
                  <c:v>4052.2479502035376</c:v>
                </c:pt>
                <c:pt idx="152" formatCode="#,##0">
                  <c:v>3953.6271631495847</c:v>
                </c:pt>
                <c:pt idx="153" formatCode="#,##0">
                  <c:v>3857.1243488453674</c:v>
                </c:pt>
                <c:pt idx="154" formatCode="#,##0">
                  <c:v>3762.7087048593494</c:v>
                </c:pt>
                <c:pt idx="155" formatCode="#,##0">
                  <c:v>3670.3490495624683</c:v>
                </c:pt>
                <c:pt idx="156" formatCode="#,##0">
                  <c:v>3580.0138841385356</c:v>
                </c:pt>
                <c:pt idx="157" formatCode="#,##0">
                  <c:v>3491.6714508571886</c:v>
                </c:pt>
                <c:pt idx="158" formatCode="#,##0">
                  <c:v>3405.2897877991431</c:v>
                </c:pt>
                <c:pt idx="159" formatCode="#,##0">
                  <c:v>3320.8367802116381</c:v>
                </c:pt>
                <c:pt idx="160" formatCode="#,##0">
                  <c:v>3238.2802086613838</c:v>
                </c:pt>
                <c:pt idx="161" formatCode="#,##0">
                  <c:v>3157.5877941427698</c:v>
                </c:pt>
                <c:pt idx="162" formatCode="#,##0">
                  <c:v>3078.7272402904882</c:v>
                </c:pt>
                <c:pt idx="163" formatCode="#,##0">
                  <c:v>3001.6662728378628</c:v>
                </c:pt>
                <c:pt idx="164" formatCode="#,##0">
                  <c:v>2926.3726764550584</c:v>
                </c:pt>
                <c:pt idx="165" formatCode="#,##0">
                  <c:v>2852.8143290947587</c:v>
                </c:pt>
                <c:pt idx="166" formatCode="#,##0">
                  <c:v>2780.9592339668447</c:v>
                </c:pt>
                <c:pt idx="167" formatCode="#,##0">
                  <c:v>2710.7755492580272</c:v>
                </c:pt>
                <c:pt idx="168" formatCode="#,##0">
                  <c:v>2642.2316157071173</c:v>
                </c:pt>
                <c:pt idx="169" formatCode="#,##0">
                  <c:v>2575.2959821417821</c:v>
                </c:pt>
                <c:pt idx="170" formatCode="#,##0">
                  <c:v>2509.9374290780111</c:v>
                </c:pt>
                <c:pt idx="171" formatCode="#,##0">
                  <c:v>2446.1249904791971</c:v>
                </c:pt>
                <c:pt idx="172" formatCode="#,##0">
                  <c:v>2383.8279737676639</c:v>
                </c:pt>
                <c:pt idx="173" formatCode="#,##0">
                  <c:v>2323.0159781775351</c:v>
                </c:pt>
                <c:pt idx="174" formatCode="#,##0">
                  <c:v>2263.6589115341962</c:v>
                </c:pt>
                <c:pt idx="175" formatCode="#,##0">
                  <c:v>2205.7270055419972</c:v>
                </c:pt>
                <c:pt idx="176" formatCode="#,##0">
                  <c:v>2149.190829658527</c:v>
                </c:pt>
                <c:pt idx="177" formatCode="#,##0">
                  <c:v>2094.0213036304749</c:v>
                </c:pt>
                <c:pt idx="178" formatCode="#,##0">
                  <c:v>2040.1897087630277</c:v>
                </c:pt>
                <c:pt idx="179" formatCode="#,##0">
                  <c:v>1987.667697991727</c:v>
                </c:pt>
                <c:pt idx="180" formatCode="#,##0">
                  <c:v>1936.4273048228154</c:v>
                </c:pt>
                <c:pt idx="181" formatCode="#,##0">
                  <c:v>1886.44095120532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7D6-49D4-BBCA-40283A14DEDD}"/>
            </c:ext>
          </c:extLst>
        </c:ser>
        <c:ser>
          <c:idx val="2"/>
          <c:order val="3"/>
          <c:tx>
            <c:v>V3</c:v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val>
            <c:numRef>
              <c:f>Sheet1!$G$93:$G$274</c:f>
              <c:numCache>
                <c:formatCode>General</c:formatCode>
                <c:ptCount val="182"/>
                <c:pt idx="88" formatCode="#,##0">
                  <c:v>12384.255429978144</c:v>
                </c:pt>
                <c:pt idx="89" formatCode="#,##0">
                  <c:v>12381.738495540094</c:v>
                </c:pt>
                <c:pt idx="90" formatCode="#,##0">
                  <c:v>12305.469843726962</c:v>
                </c:pt>
                <c:pt idx="91" formatCode="#,##0">
                  <c:v>12188.82353865699</c:v>
                </c:pt>
                <c:pt idx="92" formatCode="#,##0">
                  <c:v>12048.336460701657</c:v>
                </c:pt>
                <c:pt idx="93" formatCode="#,##0">
                  <c:v>11892.419536044787</c:v>
                </c:pt>
                <c:pt idx="94" formatCode="#,##0">
                  <c:v>11725.337532383628</c:v>
                </c:pt>
                <c:pt idx="95" formatCode="#,##0">
                  <c:v>11549.732364132808</c:v>
                </c:pt>
                <c:pt idx="96" formatCode="#,##0">
                  <c:v>11368.184119566578</c:v>
                </c:pt>
                <c:pt idx="97" formatCode="#,##0">
                  <c:v>11182.388903323426</c:v>
                </c:pt>
                <c:pt idx="98" formatCode="#,##0">
                  <c:v>10992.446750536743</c:v>
                </c:pt>
                <c:pt idx="99" formatCode="#,##0">
                  <c:v>10798.254563455468</c:v>
                </c:pt>
                <c:pt idx="100" formatCode="#,##0">
                  <c:v>10599.929503923397</c:v>
                </c:pt>
                <c:pt idx="101" formatCode="#,##0">
                  <c:v>10397.78209807549</c:v>
                </c:pt>
                <c:pt idx="102" formatCode="#,##0">
                  <c:v>10192.570969851162</c:v>
                </c:pt>
                <c:pt idx="103" formatCode="#,##0">
                  <c:v>9985.9146241609851</c:v>
                </c:pt>
                <c:pt idx="104" formatCode="#,##0">
                  <c:v>9778.9121406780287</c:v>
                </c:pt>
                <c:pt idx="105" formatCode="#,##0">
                  <c:v>9571.3725769656448</c:v>
                </c:pt>
                <c:pt idx="106" formatCode="#,##0">
                  <c:v>9363.0780046187883</c:v>
                </c:pt>
                <c:pt idx="107" formatCode="#,##0">
                  <c:v>9153.9058971181184</c:v>
                </c:pt>
                <c:pt idx="108" formatCode="#,##0">
                  <c:v>8943.8612066982005</c:v>
                </c:pt>
                <c:pt idx="109" formatCode="#,##0">
                  <c:v>8733.4826071830303</c:v>
                </c:pt>
                <c:pt idx="110" formatCode="#,##0">
                  <c:v>8524.2805747821403</c:v>
                </c:pt>
                <c:pt idx="111" formatCode="#,##0">
                  <c:v>8317.3851737700406</c:v>
                </c:pt>
                <c:pt idx="112" formatCode="#,##0">
                  <c:v>8112.739096901033</c:v>
                </c:pt>
                <c:pt idx="113" formatCode="#,##0">
                  <c:v>7909.927352430961</c:v>
                </c:pt>
                <c:pt idx="114" formatCode="#,##0">
                  <c:v>7708.9144896136586</c:v>
                </c:pt>
                <c:pt idx="115" formatCode="#,##0">
                  <c:v>7509.7857886288766</c:v>
                </c:pt>
                <c:pt idx="116" formatCode="#,##0">
                  <c:v>7312.8031151383575</c:v>
                </c:pt>
                <c:pt idx="117" formatCode="#,##0">
                  <c:v>7118.9528990941071</c:v>
                </c:pt>
                <c:pt idx="118" formatCode="#,##0">
                  <c:v>6929.0458682360886</c:v>
                </c:pt>
                <c:pt idx="119" formatCode="#,##0">
                  <c:v>6742.8497714274572</c:v>
                </c:pt>
                <c:pt idx="120" formatCode="#,##0">
                  <c:v>6560.1632156124761</c:v>
                </c:pt>
                <c:pt idx="121" formatCode="#,##0">
                  <c:v>6380.8665114722608</c:v>
                </c:pt>
                <c:pt idx="122" formatCode="#,##0">
                  <c:v>6204.9209476599099</c:v>
                </c:pt>
                <c:pt idx="123" formatCode="#,##0">
                  <c:v>6032.350733621276</c:v>
                </c:pt>
                <c:pt idx="124" formatCode="#,##0">
                  <c:v>5863.7071431953927</c:v>
                </c:pt>
                <c:pt idx="125" formatCode="#,##0">
                  <c:v>5699.3104253141364</c:v>
                </c:pt>
                <c:pt idx="126" formatCode="#,##0">
                  <c:v>5538.8605473874723</c:v>
                </c:pt>
                <c:pt idx="127" formatCode="#,##0">
                  <c:v>5382.0056795178034</c:v>
                </c:pt>
                <c:pt idx="128" formatCode="#,##0">
                  <c:v>5228.5828147970387</c:v>
                </c:pt>
                <c:pt idx="129" formatCode="#,##0">
                  <c:v>5078.472171521812</c:v>
                </c:pt>
                <c:pt idx="130" formatCode="#,##0">
                  <c:v>4931.2859269107666</c:v>
                </c:pt>
                <c:pt idx="131" formatCode="#,##0">
                  <c:v>4786.8400647836488</c:v>
                </c:pt>
                <c:pt idx="132" formatCode="#,##0">
                  <c:v>4645.0658134591567</c:v>
                </c:pt>
                <c:pt idx="133" formatCode="#,##0">
                  <c:v>4505.9570592995324</c:v>
                </c:pt>
                <c:pt idx="134" formatCode="#,##0">
                  <c:v>4369.5391905155029</c:v>
                </c:pt>
                <c:pt idx="135" formatCode="#,##0">
                  <c:v>4235.850782959873</c:v>
                </c:pt>
                <c:pt idx="136" formatCode="#,##0">
                  <c:v>4104.9330139377107</c:v>
                </c:pt>
                <c:pt idx="137" formatCode="#,##0">
                  <c:v>3976.8237353467121</c:v>
                </c:pt>
                <c:pt idx="138" formatCode="#,##0">
                  <c:v>3851.5543523439878</c:v>
                </c:pt>
                <c:pt idx="139" formatCode="#,##0">
                  <c:v>3729.1873464644714</c:v>
                </c:pt>
                <c:pt idx="140" formatCode="#,##0">
                  <c:v>3609.7547346826841</c:v>
                </c:pt>
                <c:pt idx="141" formatCode="#,##0">
                  <c:v>3493.2671870488753</c:v>
                </c:pt>
                <c:pt idx="142" formatCode="#,##0">
                  <c:v>3379.7201969371345</c:v>
                </c:pt>
                <c:pt idx="143" formatCode="#,##0">
                  <c:v>3269.0982845634344</c:v>
                </c:pt>
                <c:pt idx="144" formatCode="#,##0">
                  <c:v>3161.4788453360129</c:v>
                </c:pt>
                <c:pt idx="145" formatCode="#,##0">
                  <c:v>3056.8756506496816</c:v>
                </c:pt>
                <c:pt idx="146" formatCode="#,##0">
                  <c:v>2955.263682521128</c:v>
                </c:pt>
                <c:pt idx="147" formatCode="#,##0">
                  <c:v>2856.5950830364159</c:v>
                </c:pt>
                <c:pt idx="148" formatCode="#,##0">
                  <c:v>2760.8092849306327</c:v>
                </c:pt>
                <c:pt idx="149" formatCode="#,##0">
                  <c:v>2667.8393428623863</c:v>
                </c:pt>
                <c:pt idx="150" formatCode="#,##0">
                  <c:v>2577.6157983374615</c:v>
                </c:pt>
                <c:pt idx="151" formatCode="#,##0">
                  <c:v>2490.0689580300646</c:v>
                </c:pt>
                <c:pt idx="152" formatCode="#,##0">
                  <c:v>2405.1301648471999</c:v>
                </c:pt>
                <c:pt idx="153" formatCode="#,##0">
                  <c:v>2322.7324415182925</c:v>
                </c:pt>
                <c:pt idx="154" formatCode="#,##0">
                  <c:v>2242.8107538731028</c:v>
                </c:pt>
                <c:pt idx="155" formatCode="#,##0">
                  <c:v>2165.3020529749319</c:v>
                </c:pt>
                <c:pt idx="156" formatCode="#,##0">
                  <c:v>2090.1451970928133</c:v>
                </c:pt>
                <c:pt idx="157" formatCode="#,##0">
                  <c:v>2017.2808162434233</c:v>
                </c:pt>
                <c:pt idx="158" formatCode="#,##0">
                  <c:v>1946.6511570911789</c:v>
                </c:pt>
                <c:pt idx="159" formatCode="#,##0">
                  <c:v>1876.7764437657638</c:v>
                </c:pt>
                <c:pt idx="160" formatCode="#,##0">
                  <c:v>1806.9948930583569</c:v>
                </c:pt>
                <c:pt idx="161" formatCode="#,##0">
                  <c:v>1737.1294337300574</c:v>
                </c:pt>
                <c:pt idx="162" formatCode="#,##0">
                  <c:v>1667.2344082769919</c:v>
                </c:pt>
                <c:pt idx="163" formatCode="#,##0">
                  <c:v>1597.632388162375</c:v>
                </c:pt>
                <c:pt idx="164" formatCode="#,##0">
                  <c:v>1528.6142668625741</c:v>
                </c:pt>
                <c:pt idx="165" formatCode="#,##0">
                  <c:v>1460.4380239323395</c:v>
                </c:pt>
                <c:pt idx="166" formatCode="#,##0">
                  <c:v>1393.3302245246157</c:v>
                </c:pt>
                <c:pt idx="167" formatCode="#,##0">
                  <c:v>1327.4883564475529</c:v>
                </c:pt>
                <c:pt idx="168" formatCode="#,##0">
                  <c:v>1263.3138355689778</c:v>
                </c:pt>
                <c:pt idx="169" formatCode="#,##0">
                  <c:v>1201.0440251995058</c:v>
                </c:pt>
                <c:pt idx="170" formatCode="#,##0">
                  <c:v>1140.8128591460841</c:v>
                </c:pt>
                <c:pt idx="171" formatCode="#,##0">
                  <c:v>1082.6891558147577</c:v>
                </c:pt>
                <c:pt idx="172" formatCode="#,##0">
                  <c:v>1026.7007613243163</c:v>
                </c:pt>
                <c:pt idx="173" formatCode="#,##0">
                  <c:v>972.84968294209114</c:v>
                </c:pt>
                <c:pt idx="174" formatCode="#,##0">
                  <c:v>921.12150496045706</c:v>
                </c:pt>
                <c:pt idx="175" formatCode="#,##0">
                  <c:v>871.64745552548391</c:v>
                </c:pt>
                <c:pt idx="176" formatCode="#,##0">
                  <c:v>824.76256741152724</c:v>
                </c:pt>
                <c:pt idx="177" formatCode="#,##0">
                  <c:v>780.55320998582943</c:v>
                </c:pt>
                <c:pt idx="178" formatCode="#,##0">
                  <c:v>738.96800632447344</c:v>
                </c:pt>
                <c:pt idx="179" formatCode="#,##0">
                  <c:v>699.88390304256825</c:v>
                </c:pt>
                <c:pt idx="180" formatCode="#,##0">
                  <c:v>663.14514194385958</c:v>
                </c:pt>
                <c:pt idx="181" formatCode="#,##0">
                  <c:v>628.585809725056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B8C-45EE-A9B5-86164ED9BF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19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5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  <a:prstDash val="sysDash"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5180</c:v>
                </c:pt>
                <c:pt idx="1">
                  <c:v>4561</c:v>
                </c:pt>
                <c:pt idx="2">
                  <c:v>4624</c:v>
                </c:pt>
                <c:pt idx="3">
                  <c:v>4747</c:v>
                </c:pt>
                <c:pt idx="4">
                  <c:v>3312</c:v>
                </c:pt>
                <c:pt idx="5">
                  <c:v>1112</c:v>
                </c:pt>
                <c:pt idx="6">
                  <c:v>4251</c:v>
                </c:pt>
                <c:pt idx="7">
                  <c:v>5855</c:v>
                </c:pt>
                <c:pt idx="8">
                  <c:v>6415</c:v>
                </c:pt>
                <c:pt idx="9">
                  <c:v>5872</c:v>
                </c:pt>
                <c:pt idx="10">
                  <c:v>6209</c:v>
                </c:pt>
                <c:pt idx="11">
                  <c:v>3655</c:v>
                </c:pt>
                <c:pt idx="12">
                  <c:v>1998</c:v>
                </c:pt>
                <c:pt idx="13">
                  <c:v>5176</c:v>
                </c:pt>
                <c:pt idx="14">
                  <c:v>7908</c:v>
                </c:pt>
                <c:pt idx="15">
                  <c:v>8258</c:v>
                </c:pt>
                <c:pt idx="16">
                  <c:v>7614</c:v>
                </c:pt>
                <c:pt idx="17">
                  <c:v>8838</c:v>
                </c:pt>
                <c:pt idx="18">
                  <c:v>5326</c:v>
                </c:pt>
                <c:pt idx="19">
                  <c:v>3403</c:v>
                </c:pt>
                <c:pt idx="20">
                  <c:v>7950</c:v>
                </c:pt>
                <c:pt idx="21">
                  <c:v>10915</c:v>
                </c:pt>
                <c:pt idx="22">
                  <c:v>14139</c:v>
                </c:pt>
                <c:pt idx="23">
                  <c:v>4373</c:v>
                </c:pt>
                <c:pt idx="24">
                  <c:v>2671</c:v>
                </c:pt>
                <c:pt idx="25">
                  <c:v>3031</c:v>
                </c:pt>
                <c:pt idx="26">
                  <c:v>3783</c:v>
                </c:pt>
                <c:pt idx="27">
                  <c:v>10937</c:v>
                </c:pt>
                <c:pt idx="28">
                  <c:v>16476</c:v>
                </c:pt>
                <c:pt idx="29">
                  <c:v>17061</c:v>
                </c:pt>
                <c:pt idx="30">
                  <c:v>13308</c:v>
                </c:pt>
                <c:pt idx="31">
                  <c:v>3446</c:v>
                </c:pt>
                <c:pt idx="32">
                  <c:v>4984</c:v>
                </c:pt>
                <c:pt idx="33">
                  <c:v>6268</c:v>
                </c:pt>
                <c:pt idx="34">
                  <c:v>12956</c:v>
                </c:pt>
                <c:pt idx="35">
                  <c:v>17401</c:v>
                </c:pt>
                <c:pt idx="36">
                  <c:v>17770</c:v>
                </c:pt>
                <c:pt idx="37">
                  <c:v>14882</c:v>
                </c:pt>
                <c:pt idx="38">
                  <c:v>13099</c:v>
                </c:pt>
                <c:pt idx="39">
                  <c:v>8438</c:v>
                </c:pt>
                <c:pt idx="40">
                  <c:v>4313</c:v>
                </c:pt>
                <c:pt idx="41">
                  <c:v>9386</c:v>
                </c:pt>
                <c:pt idx="42">
                  <c:v>10811</c:v>
                </c:pt>
                <c:pt idx="43">
                  <c:v>10922</c:v>
                </c:pt>
                <c:pt idx="44">
                  <c:v>8088</c:v>
                </c:pt>
                <c:pt idx="45">
                  <c:v>9301</c:v>
                </c:pt>
                <c:pt idx="46">
                  <c:v>5242</c:v>
                </c:pt>
                <c:pt idx="47">
                  <c:v>2641</c:v>
                </c:pt>
                <c:pt idx="48">
                  <c:v>7668</c:v>
                </c:pt>
                <c:pt idx="49">
                  <c:v>9610</c:v>
                </c:pt>
                <c:pt idx="50">
                  <c:v>8216</c:v>
                </c:pt>
                <c:pt idx="51">
                  <c:v>7534</c:v>
                </c:pt>
                <c:pt idx="52">
                  <c:v>8468</c:v>
                </c:pt>
                <c:pt idx="53">
                  <c:v>4239</c:v>
                </c:pt>
                <c:pt idx="54">
                  <c:v>2394</c:v>
                </c:pt>
                <c:pt idx="55">
                  <c:v>6974</c:v>
                </c:pt>
                <c:pt idx="56">
                  <c:v>9196</c:v>
                </c:pt>
                <c:pt idx="57">
                  <c:v>8504</c:v>
                </c:pt>
                <c:pt idx="58">
                  <c:v>8010</c:v>
                </c:pt>
                <c:pt idx="59">
                  <c:v>8053</c:v>
                </c:pt>
                <c:pt idx="60">
                  <c:v>4055</c:v>
                </c:pt>
                <c:pt idx="61">
                  <c:v>2573</c:v>
                </c:pt>
                <c:pt idx="62">
                  <c:v>7217</c:v>
                </c:pt>
                <c:pt idx="63">
                  <c:v>9149</c:v>
                </c:pt>
                <c:pt idx="64">
                  <c:v>9667</c:v>
                </c:pt>
                <c:pt idx="65">
                  <c:v>8108</c:v>
                </c:pt>
                <c:pt idx="66">
                  <c:v>8623</c:v>
                </c:pt>
                <c:pt idx="67">
                  <c:v>4820</c:v>
                </c:pt>
                <c:pt idx="68">
                  <c:v>2451</c:v>
                </c:pt>
                <c:pt idx="69">
                  <c:v>7777</c:v>
                </c:pt>
                <c:pt idx="70">
                  <c:v>10282</c:v>
                </c:pt>
                <c:pt idx="71">
                  <c:v>9539</c:v>
                </c:pt>
                <c:pt idx="72">
                  <c:v>9018</c:v>
                </c:pt>
                <c:pt idx="73">
                  <c:v>8830</c:v>
                </c:pt>
                <c:pt idx="74">
                  <c:v>5141</c:v>
                </c:pt>
                <c:pt idx="75">
                  <c:v>2880</c:v>
                </c:pt>
                <c:pt idx="76">
                  <c:v>8905</c:v>
                </c:pt>
                <c:pt idx="77">
                  <c:v>12608</c:v>
                </c:pt>
                <c:pt idx="78">
                  <c:v>10939</c:v>
                </c:pt>
                <c:pt idx="79">
                  <c:v>11704</c:v>
                </c:pt>
                <c:pt idx="80">
                  <c:v>11288</c:v>
                </c:pt>
                <c:pt idx="81">
                  <c:v>6775</c:v>
                </c:pt>
                <c:pt idx="82">
                  <c:v>4068</c:v>
                </c:pt>
                <c:pt idx="83">
                  <c:v>11410</c:v>
                </c:pt>
                <c:pt idx="84">
                  <c:v>15841</c:v>
                </c:pt>
                <c:pt idx="85">
                  <c:v>13796</c:v>
                </c:pt>
                <c:pt idx="86">
                  <c:v>14588</c:v>
                </c:pt>
                <c:pt idx="87">
                  <c:v>14775</c:v>
                </c:pt>
                <c:pt idx="88">
                  <c:v>7824</c:v>
                </c:pt>
                <c:pt idx="89">
                  <c:v>4587</c:v>
                </c:pt>
                <c:pt idx="90">
                  <c:v>12325</c:v>
                </c:pt>
                <c:pt idx="91">
                  <c:v>16779</c:v>
                </c:pt>
                <c:pt idx="92">
                  <c:v>15238</c:v>
                </c:pt>
                <c:pt idx="93">
                  <c:v>14650</c:v>
                </c:pt>
                <c:pt idx="94">
                  <c:v>13169</c:v>
                </c:pt>
                <c:pt idx="95">
                  <c:v>9130</c:v>
                </c:pt>
                <c:pt idx="96">
                  <c:v>3983</c:v>
                </c:pt>
                <c:pt idx="97">
                  <c:v>10653</c:v>
                </c:pt>
                <c:pt idx="98">
                  <c:v>15359</c:v>
                </c:pt>
                <c:pt idx="99">
                  <c:v>14537</c:v>
                </c:pt>
                <c:pt idx="100">
                  <c:v>11245</c:v>
                </c:pt>
                <c:pt idx="101">
                  <c:v>14961</c:v>
                </c:pt>
                <c:pt idx="102">
                  <c:v>6956</c:v>
                </c:pt>
                <c:pt idx="103">
                  <c:v>3332</c:v>
                </c:pt>
                <c:pt idx="104">
                  <c:v>10630</c:v>
                </c:pt>
                <c:pt idx="105">
                  <c:v>14028</c:v>
                </c:pt>
                <c:pt idx="106">
                  <c:v>12028</c:v>
                </c:pt>
                <c:pt idx="107">
                  <c:v>10660</c:v>
                </c:pt>
                <c:pt idx="108">
                  <c:v>9710</c:v>
                </c:pt>
                <c:pt idx="109">
                  <c:v>5466</c:v>
                </c:pt>
                <c:pt idx="110">
                  <c:v>2391</c:v>
                </c:pt>
                <c:pt idx="111">
                  <c:v>8239</c:v>
                </c:pt>
                <c:pt idx="112">
                  <c:v>10968</c:v>
                </c:pt>
                <c:pt idx="113">
                  <c:v>8848</c:v>
                </c:pt>
                <c:pt idx="114">
                  <c:v>7926</c:v>
                </c:pt>
                <c:pt idx="115">
                  <c:v>7712</c:v>
                </c:pt>
                <c:pt idx="116">
                  <c:v>3969</c:v>
                </c:pt>
                <c:pt idx="117">
                  <c:v>1744</c:v>
                </c:pt>
                <c:pt idx="118">
                  <c:v>6935</c:v>
                </c:pt>
                <c:pt idx="119">
                  <c:v>8630</c:v>
                </c:pt>
                <c:pt idx="120">
                  <c:v>7263</c:v>
                </c:pt>
                <c:pt idx="121">
                  <c:v>6245</c:v>
                </c:pt>
                <c:pt idx="122">
                  <c:v>3837</c:v>
                </c:pt>
                <c:pt idx="123">
                  <c:v>2160</c:v>
                </c:pt>
                <c:pt idx="124">
                  <c:v>1925</c:v>
                </c:pt>
                <c:pt idx="125">
                  <c:v>1419</c:v>
                </c:pt>
                <c:pt idx="126">
                  <c:v>5583</c:v>
                </c:pt>
                <c:pt idx="127">
                  <c:v>7052</c:v>
                </c:pt>
                <c:pt idx="128">
                  <c:v>5282</c:v>
                </c:pt>
                <c:pt idx="129">
                  <c:v>4818</c:v>
                </c:pt>
                <c:pt idx="130">
                  <c:v>2204</c:v>
                </c:pt>
                <c:pt idx="131">
                  <c:v>985</c:v>
                </c:pt>
                <c:pt idx="132">
                  <c:v>3868</c:v>
                </c:pt>
                <c:pt idx="133">
                  <c:v>5056</c:v>
                </c:pt>
                <c:pt idx="134">
                  <c:v>3715</c:v>
                </c:pt>
                <c:pt idx="135">
                  <c:v>3263</c:v>
                </c:pt>
                <c:pt idx="136">
                  <c:v>3217</c:v>
                </c:pt>
                <c:pt idx="137">
                  <c:v>1541</c:v>
                </c:pt>
                <c:pt idx="138">
                  <c:v>833</c:v>
                </c:pt>
                <c:pt idx="139">
                  <c:v>3341</c:v>
                </c:pt>
                <c:pt idx="140">
                  <c:v>3815</c:v>
                </c:pt>
                <c:pt idx="141">
                  <c:v>2951</c:v>
                </c:pt>
                <c:pt idx="142">
                  <c:v>2628</c:v>
                </c:pt>
                <c:pt idx="143">
                  <c:v>2601</c:v>
                </c:pt>
                <c:pt idx="144">
                  <c:v>1307</c:v>
                </c:pt>
                <c:pt idx="145">
                  <c:v>825</c:v>
                </c:pt>
                <c:pt idx="146">
                  <c:v>2579</c:v>
                </c:pt>
                <c:pt idx="147">
                  <c:v>3238</c:v>
                </c:pt>
                <c:pt idx="148">
                  <c:v>2487</c:v>
                </c:pt>
                <c:pt idx="149">
                  <c:v>2228</c:v>
                </c:pt>
                <c:pt idx="150">
                  <c:v>2166</c:v>
                </c:pt>
                <c:pt idx="151">
                  <c:v>1171</c:v>
                </c:pt>
                <c:pt idx="152">
                  <c:v>508</c:v>
                </c:pt>
                <c:pt idx="153">
                  <c:v>2217</c:v>
                </c:pt>
                <c:pt idx="154">
                  <c:v>2416</c:v>
                </c:pt>
                <c:pt idx="155">
                  <c:v>1873</c:v>
                </c:pt>
                <c:pt idx="156">
                  <c:v>1572</c:v>
                </c:pt>
                <c:pt idx="157">
                  <c:v>1638</c:v>
                </c:pt>
                <c:pt idx="158">
                  <c:v>724</c:v>
                </c:pt>
                <c:pt idx="159">
                  <c:v>384</c:v>
                </c:pt>
                <c:pt idx="160">
                  <c:v>1544</c:v>
                </c:pt>
                <c:pt idx="161">
                  <c:v>1690</c:v>
                </c:pt>
                <c:pt idx="162">
                  <c:v>1264</c:v>
                </c:pt>
                <c:pt idx="163">
                  <c:v>1223</c:v>
                </c:pt>
                <c:pt idx="164">
                  <c:v>1051</c:v>
                </c:pt>
                <c:pt idx="165">
                  <c:v>597</c:v>
                </c:pt>
                <c:pt idx="166">
                  <c:v>256</c:v>
                </c:pt>
                <c:pt idx="167">
                  <c:v>1131</c:v>
                </c:pt>
                <c:pt idx="168">
                  <c:v>1199</c:v>
                </c:pt>
                <c:pt idx="169">
                  <c:v>777</c:v>
                </c:pt>
                <c:pt idx="170">
                  <c:v>684</c:v>
                </c:pt>
                <c:pt idx="171">
                  <c:v>672</c:v>
                </c:pt>
                <c:pt idx="172">
                  <c:v>335</c:v>
                </c:pt>
                <c:pt idx="173">
                  <c:v>1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0BF-4865-80F1-EB367B454D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0BF-4865-80F1-EB367B454D3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88" formatCode="0">
                  <c:v>12384.817441099038</c:v>
                </c:pt>
                <c:pt idx="89" formatCode="0">
                  <c:v>12382.300839481471</c:v>
                </c:pt>
                <c:pt idx="90" formatCode="0">
                  <c:v>12306.025564485491</c:v>
                </c:pt>
                <c:pt idx="91" formatCode="0">
                  <c:v>12189.368745397778</c:v>
                </c:pt>
                <c:pt idx="92" formatCode="0">
                  <c:v>12048.867966689984</c:v>
                </c:pt>
                <c:pt idx="93" formatCode="0">
                  <c:v>11892.934675110129</c:v>
                </c:pt>
                <c:pt idx="94" formatCode="0">
                  <c:v>11725.834216673125</c:v>
                </c:pt>
                <c:pt idx="95" formatCode="0">
                  <c:v>11550.208209364881</c:v>
                </c:pt>
                <c:pt idx="96" formatCode="0">
                  <c:v>11368.638700943482</c:v>
                </c:pt>
                <c:pt idx="97" formatCode="0">
                  <c:v>11182.822926599361</c:v>
                </c:pt>
                <c:pt idx="98" formatCode="0">
                  <c:v>10992.859014488589</c:v>
                </c:pt>
                <c:pt idx="99" formatCode="0">
                  <c:v>10798.636600479667</c:v>
                </c:pt>
                <c:pt idx="100" formatCode="0">
                  <c:v>10600.269885453818</c:v>
                </c:pt>
                <c:pt idx="101" formatCode="0">
                  <c:v>10398.053951750688</c:v>
                </c:pt>
                <c:pt idx="102" formatCode="0">
                  <c:v>10192.745118692863</c:v>
                </c:pt>
                <c:pt idx="103" formatCode="0">
                  <c:v>9985.9770814224175</c:v>
                </c:pt>
                <c:pt idx="104" formatCode="0">
                  <c:v>9778.8622091860725</c:v>
                </c:pt>
                <c:pt idx="105" formatCode="0">
                  <c:v>9571.2003572318972</c:v>
                </c:pt>
                <c:pt idx="106" formatCode="0">
                  <c:v>9362.7649206321112</c:v>
                </c:pt>
                <c:pt idx="107" formatCode="0">
                  <c:v>9153.44117242436</c:v>
                </c:pt>
                <c:pt idx="108" formatCode="0">
                  <c:v>8943.2337378033681</c:v>
                </c:pt>
                <c:pt idx="109" formatCode="0">
                  <c:v>8732.6825829176378</c:v>
                </c:pt>
                <c:pt idx="110" formatCode="0">
                  <c:v>8523.3015476276541</c:v>
                </c:pt>
                <c:pt idx="111" formatCode="0">
                  <c:v>8316.2290584879775</c:v>
                </c:pt>
                <c:pt idx="112" formatCode="0">
                  <c:v>8111.4045814208403</c:v>
                </c:pt>
                <c:pt idx="113" formatCode="0">
                  <c:v>7908.4062434649368</c:v>
                </c:pt>
                <c:pt idx="114" formatCode="0">
                  <c:v>7707.1973917901341</c:v>
                </c:pt>
                <c:pt idx="115" formatCode="0">
                  <c:v>7507.8580993192882</c:v>
                </c:pt>
                <c:pt idx="116" formatCode="0">
                  <c:v>7310.6559170828687</c:v>
                </c:pt>
                <c:pt idx="117" formatCode="0">
                  <c:v>7116.5812098119522</c:v>
                </c:pt>
                <c:pt idx="118" formatCode="0">
                  <c:v>6926.4590901663696</c:v>
                </c:pt>
                <c:pt idx="119" formatCode="0">
                  <c:v>6740.0615830623565</c:v>
                </c:pt>
                <c:pt idx="120" formatCode="0">
                  <c:v>6557.1801187744095</c:v>
                </c:pt>
                <c:pt idx="121" formatCode="0">
                  <c:v>6377.6959993214505</c:v>
                </c:pt>
                <c:pt idx="122" formatCode="0">
                  <c:v>6201.5713008112043</c:v>
                </c:pt>
                <c:pt idx="123" formatCode="0">
                  <c:v>6028.8239511616448</c:v>
                </c:pt>
                <c:pt idx="124" formatCode="0">
                  <c:v>5860.0111856359517</c:v>
                </c:pt>
                <c:pt idx="125" formatCode="0">
                  <c:v>5695.458952014641</c:v>
                </c:pt>
                <c:pt idx="126" formatCode="0">
                  <c:v>5534.8574913914008</c:v>
                </c:pt>
                <c:pt idx="127" formatCode="0">
                  <c:v>5377.8378171038275</c:v>
                </c:pt>
                <c:pt idx="128" formatCode="0">
                  <c:v>5224.2327045402235</c:v>
                </c:pt>
                <c:pt idx="129" formatCode="0">
                  <c:v>5073.8695937838575</c:v>
                </c:pt>
                <c:pt idx="130" formatCode="0">
                  <c:v>4927.1700433584319</c:v>
                </c:pt>
                <c:pt idx="131" formatCode="0">
                  <c:v>4784.3971464123206</c:v>
                </c:pt>
                <c:pt idx="132" formatCode="0">
                  <c:v>4645.654113291871</c:v>
                </c:pt>
                <c:pt idx="133" formatCode="0">
                  <c:v>4510.9269497820096</c:v>
                </c:pt>
                <c:pt idx="134" formatCode="0">
                  <c:v>4379.8016686046712</c:v>
                </c:pt>
                <c:pt idx="135" formatCode="0">
                  <c:v>4251.8458825625275</c:v>
                </c:pt>
                <c:pt idx="136" formatCode="0">
                  <c:v>4126.4741451235459</c:v>
                </c:pt>
                <c:pt idx="137" formatCode="0">
                  <c:v>4003.3777452064687</c:v>
                </c:pt>
                <c:pt idx="138" formatCode="0">
                  <c:v>3882.9411557437784</c:v>
                </c:pt>
                <c:pt idx="139" formatCode="0">
                  <c:v>3765.4889914775163</c:v>
                </c:pt>
                <c:pt idx="140" formatCode="0">
                  <c:v>3650.584156829746</c:v>
                </c:pt>
                <c:pt idx="141" formatCode="0">
                  <c:v>3538.0488781063041</c:v>
                </c:pt>
                <c:pt idx="142" formatCode="0">
                  <c:v>3427.7511137796259</c:v>
                </c:pt>
                <c:pt idx="143" formatCode="0">
                  <c:v>3319.4522432650147</c:v>
                </c:pt>
                <c:pt idx="144" formatCode="0">
                  <c:v>3213.115343996697</c:v>
                </c:pt>
                <c:pt idx="145" formatCode="0">
                  <c:v>3109.2700126354443</c:v>
                </c:pt>
                <c:pt idx="146" formatCode="0">
                  <c:v>3008.2518185934432</c:v>
                </c:pt>
                <c:pt idx="147" formatCode="0">
                  <c:v>2909.6364604117739</c:v>
                </c:pt>
                <c:pt idx="148" formatCode="0">
                  <c:v>2813.2340318273496</c:v>
                </c:pt>
                <c:pt idx="149" formatCode="0">
                  <c:v>2718.8503623031629</c:v>
                </c:pt>
                <c:pt idx="150" formatCode="0">
                  <c:v>2626.2924142620263</c:v>
                </c:pt>
                <c:pt idx="151" formatCode="0">
                  <c:v>2535.5658876248117</c:v>
                </c:pt>
                <c:pt idx="152" formatCode="0">
                  <c:v>2447.2086038335174</c:v>
                </c:pt>
                <c:pt idx="153" formatCode="0">
                  <c:v>2361.523905795304</c:v>
                </c:pt>
                <c:pt idx="154" formatCode="0">
                  <c:v>2278.1125277959641</c:v>
                </c:pt>
                <c:pt idx="155" formatCode="0">
                  <c:v>2196.7760503662507</c:v>
                </c:pt>
                <c:pt idx="156" formatCode="0">
                  <c:v>2117.278035913464</c:v>
                </c:pt>
                <c:pt idx="157" formatCode="0">
                  <c:v>2039.4285715393758</c:v>
                </c:pt>
                <c:pt idx="158" formatCode="0">
                  <c:v>1963.2060068790429</c:v>
                </c:pt>
                <c:pt idx="159" formatCode="0">
                  <c:v>1889.171884979334</c:v>
                </c:pt>
                <c:pt idx="160" formatCode="0">
                  <c:v>1817.5998586170945</c:v>
                </c:pt>
                <c:pt idx="161" formatCode="0">
                  <c:v>1748.0228696286492</c:v>
                </c:pt>
                <c:pt idx="162" formatCode="0">
                  <c:v>1680.2206922800797</c:v>
                </c:pt>
                <c:pt idx="163" formatCode="0">
                  <c:v>1614.021199822344</c:v>
                </c:pt>
                <c:pt idx="164" formatCode="0">
                  <c:v>1549.2973272770466</c:v>
                </c:pt>
                <c:pt idx="165" formatCode="0">
                  <c:v>1486.0374151789879</c:v>
                </c:pt>
                <c:pt idx="166" formatCode="0">
                  <c:v>1424.7185194965139</c:v>
                </c:pt>
                <c:pt idx="167" formatCode="0">
                  <c:v>1365.608413785985</c:v>
                </c:pt>
                <c:pt idx="168" formatCode="0">
                  <c:v>1308.4117301870797</c:v>
                </c:pt>
                <c:pt idx="169" formatCode="0">
                  <c:v>1252.5899823568957</c:v>
                </c:pt>
                <c:pt idx="170" formatCode="0">
                  <c:v>1197.8974216388406</c:v>
                </c:pt>
                <c:pt idx="171" formatCode="0">
                  <c:v>1144.2487941181141</c:v>
                </c:pt>
                <c:pt idx="172" formatCode="0">
                  <c:v>1091.6450358968598</c:v>
                </c:pt>
                <c:pt idx="173" formatCode="0">
                  <c:v>1040.1311775589443</c:v>
                </c:pt>
                <c:pt idx="174" formatCode="0">
                  <c:v>989.77235147505246</c:v>
                </c:pt>
                <c:pt idx="175" formatCode="0">
                  <c:v>940.6400914282508</c:v>
                </c:pt>
                <c:pt idx="176" formatCode="0">
                  <c:v>892.80455372097185</c:v>
                </c:pt>
                <c:pt idx="177" formatCode="0">
                  <c:v>846.34854865773536</c:v>
                </c:pt>
                <c:pt idx="178" formatCode="0">
                  <c:v>801.33579349642764</c:v>
                </c:pt>
                <c:pt idx="179" formatCode="0">
                  <c:v>757.81442830441028</c:v>
                </c:pt>
                <c:pt idx="180" formatCode="0">
                  <c:v>715.81956847021604</c:v>
                </c:pt>
                <c:pt idx="181" formatCode="0">
                  <c:v>675.47941242024444</c:v>
                </c:pt>
                <c:pt idx="182" formatCode="0">
                  <c:v>636.98616616483378</c:v>
                </c:pt>
                <c:pt idx="183" formatCode="0">
                  <c:v>600.40191528663047</c:v>
                </c:pt>
                <c:pt idx="184" formatCode="0">
                  <c:v>565.71323374620931</c:v>
                </c:pt>
                <c:pt idx="185" formatCode="0">
                  <c:v>532.86482160896037</c:v>
                </c:pt>
                <c:pt idx="186" formatCode="0">
                  <c:v>501.85946636295233</c:v>
                </c:pt>
                <c:pt idx="187" formatCode="0">
                  <c:v>472.64125458781143</c:v>
                </c:pt>
                <c:pt idx="188" formatCode="0">
                  <c:v>445.20721590453269</c:v>
                </c:pt>
                <c:pt idx="189" formatCode="0">
                  <c:v>419.4913047961108</c:v>
                </c:pt>
                <c:pt idx="190" formatCode="0">
                  <c:v>395.26828973992599</c:v>
                </c:pt>
                <c:pt idx="191" formatCode="0">
                  <c:v>372.38041822007278</c:v>
                </c:pt>
                <c:pt idx="192" formatCode="0">
                  <c:v>350.70985337060193</c:v>
                </c:pt>
                <c:pt idx="193" formatCode="0">
                  <c:v>330.16376066431854</c:v>
                </c:pt>
                <c:pt idx="194" formatCode="0">
                  <c:v>310.66600613182362</c:v>
                </c:pt>
                <c:pt idx="195" formatCode="0">
                  <c:v>292.15232325051221</c:v>
                </c:pt>
                <c:pt idx="196" formatCode="0">
                  <c:v>274.56732093555945</c:v>
                </c:pt>
                <c:pt idx="197" formatCode="0">
                  <c:v>257.86249348305995</c:v>
                </c:pt>
                <c:pt idx="198" formatCode="0">
                  <c:v>241.99480061816547</c:v>
                </c:pt>
                <c:pt idx="199" formatCode="0">
                  <c:v>226.92559442857453</c:v>
                </c:pt>
                <c:pt idx="200" formatCode="0">
                  <c:v>212.61977580780766</c:v>
                </c:pt>
                <c:pt idx="201" formatCode="0">
                  <c:v>199.0451162253546</c:v>
                </c:pt>
                <c:pt idx="202" formatCode="0">
                  <c:v>186.17170720137278</c:v>
                </c:pt>
                <c:pt idx="203" formatCode="0">
                  <c:v>173.97151316566197</c:v>
                </c:pt>
                <c:pt idx="204" formatCode="0">
                  <c:v>162.41801020874794</c:v>
                </c:pt>
                <c:pt idx="205" formatCode="0">
                  <c:v>151.48589696917608</c:v>
                </c:pt>
                <c:pt idx="206" formatCode="0">
                  <c:v>141.15086619191931</c:v>
                </c:pt>
                <c:pt idx="207" formatCode="0">
                  <c:v>131.38942711376927</c:v>
                </c:pt>
                <c:pt idx="208" formatCode="0">
                  <c:v>122.17877013174018</c:v>
                </c:pt>
                <c:pt idx="209" formatCode="0">
                  <c:v>113.4966663368248</c:v>
                </c:pt>
                <c:pt idx="210" formatCode="0">
                  <c:v>105.32139550399076</c:v>
                </c:pt>
                <c:pt idx="211" formatCode="0">
                  <c:v>97.631697038649108</c:v>
                </c:pt>
                <c:pt idx="212" formatCode="0">
                  <c:v>90.406739195401343</c:v>
                </c:pt>
                <c:pt idx="213" formatCode="0">
                  <c:v>83.626102609277282</c:v>
                </c:pt>
                <c:pt idx="214" formatCode="0">
                  <c:v>77.269774816417666</c:v>
                </c:pt>
                <c:pt idx="215" formatCode="0">
                  <c:v>71.3181529954226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0BF-4865-80F1-EB367B454D3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88" formatCode="0">
                  <c:v>12384.817441099038</c:v>
                </c:pt>
                <c:pt idx="89" formatCode="0">
                  <c:v>12382.300839481471</c:v>
                </c:pt>
                <c:pt idx="90" formatCode="0">
                  <c:v>12306.025564485491</c:v>
                </c:pt>
                <c:pt idx="91" formatCode="0">
                  <c:v>12189.368745397778</c:v>
                </c:pt>
                <c:pt idx="92" formatCode="0">
                  <c:v>12048.867966689984</c:v>
                </c:pt>
                <c:pt idx="93" formatCode="0">
                  <c:v>11892.934675110129</c:v>
                </c:pt>
                <c:pt idx="94" formatCode="0">
                  <c:v>11725.834216673125</c:v>
                </c:pt>
                <c:pt idx="95" formatCode="0">
                  <c:v>11550.208209364881</c:v>
                </c:pt>
                <c:pt idx="96" formatCode="0">
                  <c:v>11368.638700943482</c:v>
                </c:pt>
                <c:pt idx="97" formatCode="0">
                  <c:v>11182.822926599361</c:v>
                </c:pt>
                <c:pt idx="98" formatCode="0">
                  <c:v>10992.859014488589</c:v>
                </c:pt>
                <c:pt idx="99" formatCode="0">
                  <c:v>10798.636600479667</c:v>
                </c:pt>
                <c:pt idx="100" formatCode="0">
                  <c:v>10600.269885453818</c:v>
                </c:pt>
                <c:pt idx="101" formatCode="0">
                  <c:v>10398.053951750688</c:v>
                </c:pt>
                <c:pt idx="102" formatCode="0">
                  <c:v>10192.745118692863</c:v>
                </c:pt>
                <c:pt idx="103" formatCode="0">
                  <c:v>9985.9770814224175</c:v>
                </c:pt>
                <c:pt idx="104" formatCode="0">
                  <c:v>9778.8622091860725</c:v>
                </c:pt>
                <c:pt idx="105" formatCode="0">
                  <c:v>9571.2003572318972</c:v>
                </c:pt>
                <c:pt idx="106" formatCode="0">
                  <c:v>9362.7649206321112</c:v>
                </c:pt>
                <c:pt idx="107" formatCode="0">
                  <c:v>9153.44117242436</c:v>
                </c:pt>
                <c:pt idx="108" formatCode="0">
                  <c:v>8943.2337378033681</c:v>
                </c:pt>
                <c:pt idx="109" formatCode="0">
                  <c:v>8732.6825829176378</c:v>
                </c:pt>
                <c:pt idx="110" formatCode="0">
                  <c:v>8523.3015476276541</c:v>
                </c:pt>
                <c:pt idx="111" formatCode="0">
                  <c:v>8316.2290584879775</c:v>
                </c:pt>
                <c:pt idx="112" formatCode="0">
                  <c:v>8111.4045814208403</c:v>
                </c:pt>
                <c:pt idx="113" formatCode="0">
                  <c:v>7908.4062434649368</c:v>
                </c:pt>
                <c:pt idx="114" formatCode="0">
                  <c:v>7707.1973917901341</c:v>
                </c:pt>
                <c:pt idx="115" formatCode="0">
                  <c:v>7507.8580993192882</c:v>
                </c:pt>
                <c:pt idx="116" formatCode="0">
                  <c:v>7310.6559170828687</c:v>
                </c:pt>
                <c:pt idx="117" formatCode="0">
                  <c:v>7116.5812098119522</c:v>
                </c:pt>
                <c:pt idx="118" formatCode="0">
                  <c:v>6926.4590901663696</c:v>
                </c:pt>
                <c:pt idx="119" formatCode="0">
                  <c:v>6740.0615830623565</c:v>
                </c:pt>
                <c:pt idx="120" formatCode="0">
                  <c:v>6557.1801187744095</c:v>
                </c:pt>
                <c:pt idx="121" formatCode="0">
                  <c:v>6377.6959993214505</c:v>
                </c:pt>
                <c:pt idx="122" formatCode="0">
                  <c:v>6201.5713008112043</c:v>
                </c:pt>
                <c:pt idx="123" formatCode="0">
                  <c:v>6028.8239511616448</c:v>
                </c:pt>
                <c:pt idx="124" formatCode="0">
                  <c:v>5860.0111856359517</c:v>
                </c:pt>
                <c:pt idx="125" formatCode="0">
                  <c:v>5695.458952014641</c:v>
                </c:pt>
                <c:pt idx="126" formatCode="0">
                  <c:v>5534.8574913914008</c:v>
                </c:pt>
                <c:pt idx="127" formatCode="0">
                  <c:v>5377.8378171038275</c:v>
                </c:pt>
                <c:pt idx="128" formatCode="0">
                  <c:v>5224.2327045402235</c:v>
                </c:pt>
                <c:pt idx="129" formatCode="0">
                  <c:v>5073.8695937838575</c:v>
                </c:pt>
                <c:pt idx="130" formatCode="0">
                  <c:v>4927.1700433584319</c:v>
                </c:pt>
                <c:pt idx="131" formatCode="0">
                  <c:v>4784.3971464123206</c:v>
                </c:pt>
                <c:pt idx="132" formatCode="0">
                  <c:v>4645.654113291871</c:v>
                </c:pt>
                <c:pt idx="133" formatCode="0">
                  <c:v>4510.9269497820096</c:v>
                </c:pt>
                <c:pt idx="134" formatCode="0">
                  <c:v>4379.8016686046712</c:v>
                </c:pt>
                <c:pt idx="135" formatCode="0">
                  <c:v>4251.8458825625275</c:v>
                </c:pt>
                <c:pt idx="136" formatCode="0">
                  <c:v>4126.4741451235459</c:v>
                </c:pt>
                <c:pt idx="137" formatCode="0">
                  <c:v>4003.3777452064687</c:v>
                </c:pt>
                <c:pt idx="138" formatCode="0">
                  <c:v>3882.9411557437784</c:v>
                </c:pt>
                <c:pt idx="139" formatCode="0">
                  <c:v>3765.4889914775163</c:v>
                </c:pt>
                <c:pt idx="140" formatCode="0">
                  <c:v>3650.584156829746</c:v>
                </c:pt>
                <c:pt idx="141" formatCode="0">
                  <c:v>3538.0488781063041</c:v>
                </c:pt>
                <c:pt idx="142" formatCode="0">
                  <c:v>3427.7511137796259</c:v>
                </c:pt>
                <c:pt idx="143" formatCode="0">
                  <c:v>3319.4522432650147</c:v>
                </c:pt>
                <c:pt idx="144" formatCode="0">
                  <c:v>3213.115343996697</c:v>
                </c:pt>
                <c:pt idx="145" formatCode="0">
                  <c:v>3109.2700126354443</c:v>
                </c:pt>
                <c:pt idx="146" formatCode="0">
                  <c:v>3008.2518185934432</c:v>
                </c:pt>
                <c:pt idx="147" formatCode="0">
                  <c:v>2909.6364604117739</c:v>
                </c:pt>
                <c:pt idx="148" formatCode="0">
                  <c:v>2813.2340318273496</c:v>
                </c:pt>
                <c:pt idx="149" formatCode="0">
                  <c:v>2718.8503623031629</c:v>
                </c:pt>
                <c:pt idx="150" formatCode="0">
                  <c:v>2626.2924142620263</c:v>
                </c:pt>
                <c:pt idx="151" formatCode="0">
                  <c:v>2535.5658876248117</c:v>
                </c:pt>
                <c:pt idx="152" formatCode="0">
                  <c:v>2447.2086038335174</c:v>
                </c:pt>
                <c:pt idx="153" formatCode="0">
                  <c:v>2361.523905795304</c:v>
                </c:pt>
                <c:pt idx="154" formatCode="0">
                  <c:v>2278.1125277959641</c:v>
                </c:pt>
                <c:pt idx="155" formatCode="0">
                  <c:v>2196.7760503662507</c:v>
                </c:pt>
                <c:pt idx="156" formatCode="0">
                  <c:v>2117.278035913464</c:v>
                </c:pt>
                <c:pt idx="157" formatCode="0">
                  <c:v>2039.4285715393758</c:v>
                </c:pt>
                <c:pt idx="158" formatCode="0">
                  <c:v>1963.2060068790429</c:v>
                </c:pt>
                <c:pt idx="159" formatCode="0">
                  <c:v>1889.171884979334</c:v>
                </c:pt>
                <c:pt idx="160" formatCode="0">
                  <c:v>1817.5998586170945</c:v>
                </c:pt>
                <c:pt idx="161" formatCode="0">
                  <c:v>1748.0228696286492</c:v>
                </c:pt>
                <c:pt idx="162" formatCode="0">
                  <c:v>1680.2206922800797</c:v>
                </c:pt>
                <c:pt idx="163" formatCode="0">
                  <c:v>1614.021199822344</c:v>
                </c:pt>
                <c:pt idx="164" formatCode="0">
                  <c:v>1549.2973272770466</c:v>
                </c:pt>
                <c:pt idx="165" formatCode="0">
                  <c:v>1486.0374151789879</c:v>
                </c:pt>
                <c:pt idx="166" formatCode="0">
                  <c:v>1424.7185194965139</c:v>
                </c:pt>
                <c:pt idx="167" formatCode="0">
                  <c:v>1365.608413785985</c:v>
                </c:pt>
                <c:pt idx="168" formatCode="0">
                  <c:v>1338.2352033373941</c:v>
                </c:pt>
                <c:pt idx="169" formatCode="0">
                  <c:v>1325.4753405726274</c:v>
                </c:pt>
                <c:pt idx="170" formatCode="0">
                  <c:v>1319.1613540032301</c:v>
                </c:pt>
                <c:pt idx="171" formatCode="0">
                  <c:v>1315.3704428948847</c:v>
                </c:pt>
                <c:pt idx="172" formatCode="0">
                  <c:v>1312.1984593890695</c:v>
                </c:pt>
                <c:pt idx="173" formatCode="0">
                  <c:v>1308.7063453017815</c:v>
                </c:pt>
                <c:pt idx="174" formatCode="0">
                  <c:v>1304.4206336818625</c:v>
                </c:pt>
                <c:pt idx="175" formatCode="0">
                  <c:v>1322.5785629927936</c:v>
                </c:pt>
                <c:pt idx="176" formatCode="0">
                  <c:v>1350.9355906650044</c:v>
                </c:pt>
                <c:pt idx="177" formatCode="0">
                  <c:v>1383.9321341772529</c:v>
                </c:pt>
                <c:pt idx="178" formatCode="0">
                  <c:v>1418.9625786497843</c:v>
                </c:pt>
                <c:pt idx="179" formatCode="0">
                  <c:v>1454.7453747329726</c:v>
                </c:pt>
                <c:pt idx="180" formatCode="0">
                  <c:v>1490.5961897466966</c:v>
                </c:pt>
                <c:pt idx="181" formatCode="0">
                  <c:v>1526.4627505762526</c:v>
                </c:pt>
                <c:pt idx="182" formatCode="0">
                  <c:v>1562.6744064436593</c:v>
                </c:pt>
                <c:pt idx="183" formatCode="0">
                  <c:v>1599.3383104468153</c:v>
                </c:pt>
                <c:pt idx="184" formatCode="0">
                  <c:v>1636.4267390496225</c:v>
                </c:pt>
                <c:pt idx="185" formatCode="0">
                  <c:v>1673.8334199947876</c:v>
                </c:pt>
                <c:pt idx="186" formatCode="0">
                  <c:v>1711.9323161840794</c:v>
                </c:pt>
                <c:pt idx="187" formatCode="0">
                  <c:v>1750.8369873460992</c:v>
                </c:pt>
                <c:pt idx="188" formatCode="0">
                  <c:v>1791.154581551951</c:v>
                </c:pt>
                <c:pt idx="189" formatCode="0">
                  <c:v>1833.1345875377256</c:v>
                </c:pt>
                <c:pt idx="190" formatCode="0">
                  <c:v>1875.7382873829813</c:v>
                </c:pt>
                <c:pt idx="191" formatCode="0">
                  <c:v>1918.3332065470599</c:v>
                </c:pt>
                <c:pt idx="192" formatCode="0">
                  <c:v>1960.4686226147267</c:v>
                </c:pt>
                <c:pt idx="193" formatCode="0">
                  <c:v>2001.7782742665215</c:v>
                </c:pt>
                <c:pt idx="194" formatCode="0">
                  <c:v>2041.9391907863828</c:v>
                </c:pt>
                <c:pt idx="195" formatCode="0">
                  <c:v>2080.6549216245389</c:v>
                </c:pt>
                <c:pt idx="196" formatCode="0">
                  <c:v>2117.6491427003216</c:v>
                </c:pt>
                <c:pt idx="197" formatCode="0">
                  <c:v>2152.6635322467014</c:v>
                </c:pt>
                <c:pt idx="198" formatCode="0">
                  <c:v>2185.4573177647098</c:v>
                </c:pt>
                <c:pt idx="199" formatCode="0">
                  <c:v>2215.8074274090995</c:v>
                </c:pt>
                <c:pt idx="200" formatCode="0">
                  <c:v>2243.5088313099341</c:v>
                </c:pt>
                <c:pt idx="201" formatCode="0">
                  <c:v>2268.3749246473244</c:v>
                </c:pt>
                <c:pt idx="202" formatCode="0">
                  <c:v>2290.2379052668707</c:v>
                </c:pt>
                <c:pt idx="203" formatCode="0">
                  <c:v>2308.9491315613668</c:v>
                </c:pt>
                <c:pt idx="204" formatCode="0">
                  <c:v>2324.3794533133719</c:v>
                </c:pt>
                <c:pt idx="205" formatCode="0">
                  <c:v>2336.4195067471446</c:v>
                </c:pt>
                <c:pt idx="206" formatCode="0">
                  <c:v>2344.9799620495342</c:v>
                </c:pt>
                <c:pt idx="207" formatCode="0">
                  <c:v>2349.9917094429375</c:v>
                </c:pt>
                <c:pt idx="208" formatCode="0">
                  <c:v>2351.4059690739355</c:v>
                </c:pt>
                <c:pt idx="209" formatCode="0">
                  <c:v>2349.1943104089009</c:v>
                </c:pt>
                <c:pt idx="210" formatCode="0">
                  <c:v>2343.3485682116398</c:v>
                </c:pt>
                <c:pt idx="211" formatCode="0">
                  <c:v>2333.8806442227833</c:v>
                </c:pt>
                <c:pt idx="212" formatCode="0">
                  <c:v>2320.8221861207526</c:v>
                </c:pt>
                <c:pt idx="213" formatCode="0">
                  <c:v>2304.2241380315122</c:v>
                </c:pt>
                <c:pt idx="214" formatCode="0">
                  <c:v>2284.1561596291099</c:v>
                </c:pt>
                <c:pt idx="215" formatCode="0">
                  <c:v>2260.705913628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0BF-4865-80F1-EB367B454D3B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0BF-4865-80F1-EB367B454D3B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0BF-4865-80F1-EB367B454D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0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4"/>
          <c:tx>
            <c:v>Počet hospitalizací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CU$7</c:f>
              <c:numCache>
                <c:formatCode>General</c:formatCode>
                <c:ptCount val="98"/>
                <c:pt idx="0">
                  <c:v>7192</c:v>
                </c:pt>
                <c:pt idx="1">
                  <c:v>6364</c:v>
                </c:pt>
                <c:pt idx="2">
                  <c:v>6215</c:v>
                </c:pt>
                <c:pt idx="3">
                  <c:v>6312</c:v>
                </c:pt>
                <c:pt idx="4">
                  <c:v>6379</c:v>
                </c:pt>
                <c:pt idx="5">
                  <c:v>7053</c:v>
                </c:pt>
                <c:pt idx="6">
                  <c:v>6698</c:v>
                </c:pt>
                <c:pt idx="7">
                  <c:v>6224</c:v>
                </c:pt>
                <c:pt idx="8">
                  <c:v>5906</c:v>
                </c:pt>
                <c:pt idx="9">
                  <c:v>5267</c:v>
                </c:pt>
                <c:pt idx="10">
                  <c:v>5221</c:v>
                </c:pt>
                <c:pt idx="11">
                  <c:v>5515</c:v>
                </c:pt>
                <c:pt idx="12">
                  <c:v>5209</c:v>
                </c:pt>
                <c:pt idx="13">
                  <c:v>4907</c:v>
                </c:pt>
                <c:pt idx="14">
                  <c:v>4650</c:v>
                </c:pt>
                <c:pt idx="15">
                  <c:v>4403</c:v>
                </c:pt>
                <c:pt idx="16">
                  <c:v>4008</c:v>
                </c:pt>
                <c:pt idx="17">
                  <c:v>4016</c:v>
                </c:pt>
                <c:pt idx="18">
                  <c:v>4288</c:v>
                </c:pt>
                <c:pt idx="19">
                  <c:v>4121</c:v>
                </c:pt>
                <c:pt idx="20">
                  <c:v>3961</c:v>
                </c:pt>
                <c:pt idx="21">
                  <c:v>3724</c:v>
                </c:pt>
                <c:pt idx="22">
                  <c:v>3510</c:v>
                </c:pt>
                <c:pt idx="23">
                  <c:v>3164</c:v>
                </c:pt>
                <c:pt idx="24">
                  <c:v>3157</c:v>
                </c:pt>
                <c:pt idx="25">
                  <c:v>3308</c:v>
                </c:pt>
                <c:pt idx="26">
                  <c:v>3138</c:v>
                </c:pt>
                <c:pt idx="27">
                  <c:v>2989</c:v>
                </c:pt>
                <c:pt idx="28">
                  <c:v>2823</c:v>
                </c:pt>
                <c:pt idx="29">
                  <c:v>2664</c:v>
                </c:pt>
                <c:pt idx="30">
                  <c:v>2453</c:v>
                </c:pt>
                <c:pt idx="31">
                  <c:v>2479</c:v>
                </c:pt>
                <c:pt idx="32">
                  <c:v>2669</c:v>
                </c:pt>
                <c:pt idx="33">
                  <c:v>2519</c:v>
                </c:pt>
                <c:pt idx="34">
                  <c:v>2345</c:v>
                </c:pt>
                <c:pt idx="35">
                  <c:v>2211</c:v>
                </c:pt>
                <c:pt idx="36">
                  <c:v>2117</c:v>
                </c:pt>
                <c:pt idx="37">
                  <c:v>1879</c:v>
                </c:pt>
                <c:pt idx="38">
                  <c:v>1860</c:v>
                </c:pt>
                <c:pt idx="39">
                  <c:v>1976</c:v>
                </c:pt>
                <c:pt idx="40">
                  <c:v>1819</c:v>
                </c:pt>
                <c:pt idx="41">
                  <c:v>1707</c:v>
                </c:pt>
                <c:pt idx="42">
                  <c:v>1609</c:v>
                </c:pt>
                <c:pt idx="43">
                  <c:v>1520</c:v>
                </c:pt>
                <c:pt idx="44">
                  <c:v>1323</c:v>
                </c:pt>
                <c:pt idx="45">
                  <c:v>1309</c:v>
                </c:pt>
                <c:pt idx="46">
                  <c:v>1388</c:v>
                </c:pt>
                <c:pt idx="47">
                  <c:v>1252</c:v>
                </c:pt>
                <c:pt idx="48">
                  <c:v>1146</c:v>
                </c:pt>
                <c:pt idx="49">
                  <c:v>1055</c:v>
                </c:pt>
                <c:pt idx="50">
                  <c:v>1012</c:v>
                </c:pt>
                <c:pt idx="51">
                  <c:v>863</c:v>
                </c:pt>
                <c:pt idx="52">
                  <c:v>849</c:v>
                </c:pt>
                <c:pt idx="53">
                  <c:v>877</c:v>
                </c:pt>
                <c:pt idx="54">
                  <c:v>783</c:v>
                </c:pt>
                <c:pt idx="55">
                  <c:v>761</c:v>
                </c:pt>
                <c:pt idx="56">
                  <c:v>665</c:v>
                </c:pt>
                <c:pt idx="57">
                  <c:v>582</c:v>
                </c:pt>
                <c:pt idx="58">
                  <c:v>498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8F8-4AB8-A8EE-CBCC174D4D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CU$2</c:f>
              <c:numCache>
                <c:formatCode>General</c:formatCode>
                <c:ptCount val="98"/>
                <c:pt idx="26">
                  <c:v>3204.5717560709104</c:v>
                </c:pt>
                <c:pt idx="27">
                  <c:v>3077.2196704219209</c:v>
                </c:pt>
                <c:pt idx="28">
                  <c:v>2955.5862714490099</c:v>
                </c:pt>
                <c:pt idx="29">
                  <c:v>2839.9348319144869</c:v>
                </c:pt>
                <c:pt idx="30">
                  <c:v>2732.10346607876</c:v>
                </c:pt>
                <c:pt idx="31">
                  <c:v>2633.35246177112</c:v>
                </c:pt>
                <c:pt idx="32">
                  <c:v>2540.551752215013</c:v>
                </c:pt>
                <c:pt idx="33">
                  <c:v>2449.1740378228578</c:v>
                </c:pt>
                <c:pt idx="34">
                  <c:v>2360.1849273521534</c:v>
                </c:pt>
                <c:pt idx="35">
                  <c:v>2275.2511719849117</c:v>
                </c:pt>
                <c:pt idx="36">
                  <c:v>2194.258388786292</c:v>
                </c:pt>
                <c:pt idx="37">
                  <c:v>2116.6627351154493</c:v>
                </c:pt>
                <c:pt idx="38">
                  <c:v>2042.9515595872015</c:v>
                </c:pt>
                <c:pt idx="39">
                  <c:v>1970.2953493518871</c:v>
                </c:pt>
                <c:pt idx="40">
                  <c:v>1897.0634869541934</c:v>
                </c:pt>
                <c:pt idx="41">
                  <c:v>1824.9247351924553</c:v>
                </c:pt>
                <c:pt idx="42">
                  <c:v>1754.7907487117839</c:v>
                </c:pt>
                <c:pt idx="43">
                  <c:v>1686.7083421517348</c:v>
                </c:pt>
                <c:pt idx="44">
                  <c:v>1620.6067054011924</c:v>
                </c:pt>
                <c:pt idx="45">
                  <c:v>1556.6621162826546</c:v>
                </c:pt>
                <c:pt idx="46">
                  <c:v>1494.0355870645158</c:v>
                </c:pt>
                <c:pt idx="47">
                  <c:v>1432.9246088612665</c:v>
                </c:pt>
                <c:pt idx="48">
                  <c:v>1373.8119577159287</c:v>
                </c:pt>
                <c:pt idx="49">
                  <c:v>1316.4471877094436</c:v>
                </c:pt>
                <c:pt idx="50">
                  <c:v>1260.9891522588109</c:v>
                </c:pt>
                <c:pt idx="51">
                  <c:v>1207.6336791951915</c:v>
                </c:pt>
                <c:pt idx="52">
                  <c:v>1156.3238758190832</c:v>
                </c:pt>
                <c:pt idx="53">
                  <c:v>1106.897264268491</c:v>
                </c:pt>
                <c:pt idx="54">
                  <c:v>1059.4860803266899</c:v>
                </c:pt>
                <c:pt idx="55">
                  <c:v>1013.9991227779407</c:v>
                </c:pt>
                <c:pt idx="56">
                  <c:v>970.44271130353286</c:v>
                </c:pt>
                <c:pt idx="57">
                  <c:v>928.65860034034324</c:v>
                </c:pt>
                <c:pt idx="58">
                  <c:v>888.69556964238325</c:v>
                </c:pt>
                <c:pt idx="59">
                  <c:v>850.74224116889354</c:v>
                </c:pt>
                <c:pt idx="60">
                  <c:v>814.52164048195823</c:v>
                </c:pt>
                <c:pt idx="61">
                  <c:v>779.76409245229718</c:v>
                </c:pt>
                <c:pt idx="62">
                  <c:v>746.72517186793277</c:v>
                </c:pt>
                <c:pt idx="63">
                  <c:v>715.21053311977357</c:v>
                </c:pt>
                <c:pt idx="64">
                  <c:v>685.17667078848353</c:v>
                </c:pt>
                <c:pt idx="65">
                  <c:v>656.62836264349608</c:v>
                </c:pt>
                <c:pt idx="66">
                  <c:v>629.43358948497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8F8-4AB8-A8EE-CBCC174D4D3C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CU$3</c:f>
              <c:numCache>
                <c:formatCode>General</c:formatCode>
                <c:ptCount val="98"/>
                <c:pt idx="26">
                  <c:v>3209.6219140195108</c:v>
                </c:pt>
                <c:pt idx="27">
                  <c:v>3091.0085414869964</c:v>
                </c:pt>
                <c:pt idx="28">
                  <c:v>2980.3540818820456</c:v>
                </c:pt>
                <c:pt idx="29">
                  <c:v>2876.961611497285</c:v>
                </c:pt>
                <c:pt idx="30">
                  <c:v>2783.0502642964243</c:v>
                </c:pt>
                <c:pt idx="31">
                  <c:v>2700.194568717438</c:v>
                </c:pt>
                <c:pt idx="32">
                  <c:v>2625.4197349263577</c:v>
                </c:pt>
                <c:pt idx="33">
                  <c:v>2554.201613979154</c:v>
                </c:pt>
                <c:pt idx="34">
                  <c:v>2486.5611454413179</c:v>
                </c:pt>
                <c:pt idx="35">
                  <c:v>2423.635294254158</c:v>
                </c:pt>
                <c:pt idx="36">
                  <c:v>2365.0519789864557</c:v>
                </c:pt>
                <c:pt idx="37">
                  <c:v>2310.3286390309413</c:v>
                </c:pt>
                <c:pt idx="38">
                  <c:v>2259.806093292555</c:v>
                </c:pt>
                <c:pt idx="39">
                  <c:v>2210.378852520163</c:v>
                </c:pt>
                <c:pt idx="40">
                  <c:v>2159.9943519202479</c:v>
                </c:pt>
                <c:pt idx="41">
                  <c:v>2109.9356679179787</c:v>
                </c:pt>
                <c:pt idx="42">
                  <c:v>2061.0538128697203</c:v>
                </c:pt>
                <c:pt idx="43">
                  <c:v>2013.3633653622264</c:v>
                </c:pt>
                <c:pt idx="44">
                  <c:v>1966.7121158292848</c:v>
                </c:pt>
                <c:pt idx="45">
                  <c:v>1921.1651402162188</c:v>
                </c:pt>
                <c:pt idx="46">
                  <c:v>1875.8471115395973</c:v>
                </c:pt>
                <c:pt idx="47">
                  <c:v>1830.8607353075622</c:v>
                </c:pt>
                <c:pt idx="48">
                  <c:v>1786.5672728670565</c:v>
                </c:pt>
                <c:pt idx="49">
                  <c:v>1742.8303399110137</c:v>
                </c:pt>
                <c:pt idx="50">
                  <c:v>1699.7785478348289</c:v>
                </c:pt>
                <c:pt idx="51">
                  <c:v>1657.6556533002299</c:v>
                </c:pt>
                <c:pt idx="52">
                  <c:v>1616.4169974469728</c:v>
                </c:pt>
                <c:pt idx="53">
                  <c:v>1575.915798128605</c:v>
                </c:pt>
                <c:pt idx="54">
                  <c:v>1536.3076941536942</c:v>
                </c:pt>
                <c:pt idx="55">
                  <c:v>1497.5676615609304</c:v>
                </c:pt>
                <c:pt idx="56">
                  <c:v>1459.744861688373</c:v>
                </c:pt>
                <c:pt idx="57">
                  <c:v>1422.7463503281542</c:v>
                </c:pt>
                <c:pt idx="58">
                  <c:v>1386.6489185797407</c:v>
                </c:pt>
                <c:pt idx="59">
                  <c:v>1351.7030146734514</c:v>
                </c:pt>
                <c:pt idx="60">
                  <c:v>1317.6626693873991</c:v>
                </c:pt>
                <c:pt idx="61">
                  <c:v>1284.3528369796909</c:v>
                </c:pt>
                <c:pt idx="62">
                  <c:v>1252.0197462564288</c:v>
                </c:pt>
                <c:pt idx="63">
                  <c:v>1220.554297300476</c:v>
                </c:pt>
                <c:pt idx="64">
                  <c:v>1189.9375680249441</c:v>
                </c:pt>
                <c:pt idx="65">
                  <c:v>1160.2231175764221</c:v>
                </c:pt>
                <c:pt idx="66">
                  <c:v>1131.29086002140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8F8-4AB8-A8EE-CBCC174D4D3C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CU$4</c:f>
              <c:numCache>
                <c:formatCode>General</c:formatCode>
                <c:ptCount val="98"/>
                <c:pt idx="26">
                  <c:v>3214.6338131957727</c:v>
                </c:pt>
                <c:pt idx="27">
                  <c:v>3104.7520786012524</c:v>
                </c:pt>
                <c:pt idx="28">
                  <c:v>3005.0747498697197</c:v>
                </c:pt>
                <c:pt idx="29">
                  <c:v>2913.9401352291175</c:v>
                </c:pt>
                <c:pt idx="30">
                  <c:v>2834.1775003189969</c:v>
                </c:pt>
                <c:pt idx="31">
                  <c:v>2767.8711607479554</c:v>
                </c:pt>
                <c:pt idx="32">
                  <c:v>2712.3553903458114</c:v>
                </c:pt>
                <c:pt idx="33">
                  <c:v>2663.1450237682957</c:v>
                </c:pt>
                <c:pt idx="34">
                  <c:v>2619.2169341146027</c:v>
                </c:pt>
                <c:pt idx="35">
                  <c:v>2581.1281385232473</c:v>
                </c:pt>
                <c:pt idx="36">
                  <c:v>2548.472863850302</c:v>
                </c:pt>
                <c:pt idx="37">
                  <c:v>2521.020149201373</c:v>
                </c:pt>
                <c:pt idx="38">
                  <c:v>2498.9119198215394</c:v>
                </c:pt>
                <c:pt idx="39">
                  <c:v>2478.7040070055532</c:v>
                </c:pt>
                <c:pt idx="40">
                  <c:v>2458.0042982679274</c:v>
                </c:pt>
                <c:pt idx="41">
                  <c:v>2437.6617274036662</c:v>
                </c:pt>
                <c:pt idx="42">
                  <c:v>2418.3563774076738</c:v>
                </c:pt>
                <c:pt idx="43">
                  <c:v>2400.1756590679183</c:v>
                </c:pt>
                <c:pt idx="44">
                  <c:v>2382.9820861626063</c:v>
                </c:pt>
                <c:pt idx="45">
                  <c:v>2366.6273779137337</c:v>
                </c:pt>
                <c:pt idx="46">
                  <c:v>2349.9490839422606</c:v>
                </c:pt>
                <c:pt idx="47">
                  <c:v>2332.9451007056923</c:v>
                </c:pt>
                <c:pt idx="48">
                  <c:v>2316.0028950792648</c:v>
                </c:pt>
                <c:pt idx="49">
                  <c:v>2298.9003343999448</c:v>
                </c:pt>
                <c:pt idx="50">
                  <c:v>2281.8183226421729</c:v>
                </c:pt>
                <c:pt idx="51">
                  <c:v>2264.9054385746849</c:v>
                </c:pt>
                <c:pt idx="52">
                  <c:v>2248.0974333529884</c:v>
                </c:pt>
                <c:pt idx="53">
                  <c:v>2231.1865007900933</c:v>
                </c:pt>
                <c:pt idx="54">
                  <c:v>2214.3112420866032</c:v>
                </c:pt>
                <c:pt idx="55">
                  <c:v>2197.5517515094912</c:v>
                </c:pt>
                <c:pt idx="56">
                  <c:v>2180.9052104322154</c:v>
                </c:pt>
                <c:pt idx="57">
                  <c:v>2164.2673000043969</c:v>
                </c:pt>
                <c:pt idx="58">
                  <c:v>2147.7793628361055</c:v>
                </c:pt>
                <c:pt idx="59">
                  <c:v>2131.5843795711021</c:v>
                </c:pt>
                <c:pt idx="60">
                  <c:v>2115.536709809784</c:v>
                </c:pt>
                <c:pt idx="61">
                  <c:v>2099.4441694610086</c:v>
                </c:pt>
                <c:pt idx="62">
                  <c:v>2083.5851455955426</c:v>
                </c:pt>
                <c:pt idx="63">
                  <c:v>2067.8526586727457</c:v>
                </c:pt>
                <c:pt idx="64">
                  <c:v>2052.2294007331852</c:v>
                </c:pt>
                <c:pt idx="65">
                  <c:v>2036.843996821548</c:v>
                </c:pt>
                <c:pt idx="66">
                  <c:v>2021.54951410195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8F8-4AB8-A8EE-CBCC174D4D3C}"/>
            </c:ext>
          </c:extLst>
        </c:ser>
        <c:ser>
          <c:idx val="4"/>
          <c:order val="3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CU$6</c:f>
              <c:numCache>
                <c:formatCode>General</c:formatCode>
                <c:ptCount val="98"/>
                <c:pt idx="0">
                  <c:v>9464</c:v>
                </c:pt>
                <c:pt idx="1">
                  <c:v>9464</c:v>
                </c:pt>
                <c:pt idx="2">
                  <c:v>9464</c:v>
                </c:pt>
                <c:pt idx="3">
                  <c:v>9464</c:v>
                </c:pt>
                <c:pt idx="4">
                  <c:v>9464</c:v>
                </c:pt>
                <c:pt idx="5">
                  <c:v>9464</c:v>
                </c:pt>
                <c:pt idx="6">
                  <c:v>9464</c:v>
                </c:pt>
                <c:pt idx="7">
                  <c:v>9464</c:v>
                </c:pt>
                <c:pt idx="8">
                  <c:v>9464</c:v>
                </c:pt>
                <c:pt idx="9">
                  <c:v>9464</c:v>
                </c:pt>
                <c:pt idx="10">
                  <c:v>9464</c:v>
                </c:pt>
                <c:pt idx="11">
                  <c:v>9464</c:v>
                </c:pt>
                <c:pt idx="12">
                  <c:v>9464</c:v>
                </c:pt>
                <c:pt idx="13">
                  <c:v>9464</c:v>
                </c:pt>
                <c:pt idx="14">
                  <c:v>9464</c:v>
                </c:pt>
                <c:pt idx="15">
                  <c:v>9464</c:v>
                </c:pt>
                <c:pt idx="16">
                  <c:v>9464</c:v>
                </c:pt>
                <c:pt idx="17">
                  <c:v>9464</c:v>
                </c:pt>
                <c:pt idx="18">
                  <c:v>9464</c:v>
                </c:pt>
                <c:pt idx="19">
                  <c:v>9464</c:v>
                </c:pt>
                <c:pt idx="20">
                  <c:v>9464</c:v>
                </c:pt>
                <c:pt idx="21">
                  <c:v>9464</c:v>
                </c:pt>
                <c:pt idx="22">
                  <c:v>9464</c:v>
                </c:pt>
                <c:pt idx="23">
                  <c:v>9464</c:v>
                </c:pt>
                <c:pt idx="24">
                  <c:v>9464</c:v>
                </c:pt>
                <c:pt idx="25">
                  <c:v>9464</c:v>
                </c:pt>
                <c:pt idx="26">
                  <c:v>9464</c:v>
                </c:pt>
                <c:pt idx="27">
                  <c:v>9464</c:v>
                </c:pt>
                <c:pt idx="28">
                  <c:v>9464</c:v>
                </c:pt>
                <c:pt idx="29">
                  <c:v>9464</c:v>
                </c:pt>
                <c:pt idx="30">
                  <c:v>9464</c:v>
                </c:pt>
                <c:pt idx="31">
                  <c:v>9464</c:v>
                </c:pt>
                <c:pt idx="32">
                  <c:v>9464</c:v>
                </c:pt>
                <c:pt idx="33">
                  <c:v>9464</c:v>
                </c:pt>
                <c:pt idx="34">
                  <c:v>9464</c:v>
                </c:pt>
                <c:pt idx="35">
                  <c:v>9464</c:v>
                </c:pt>
                <c:pt idx="36">
                  <c:v>9464</c:v>
                </c:pt>
                <c:pt idx="37">
                  <c:v>9464</c:v>
                </c:pt>
                <c:pt idx="38">
                  <c:v>9464</c:v>
                </c:pt>
                <c:pt idx="39">
                  <c:v>9464</c:v>
                </c:pt>
                <c:pt idx="40">
                  <c:v>9464</c:v>
                </c:pt>
                <c:pt idx="41">
                  <c:v>9464</c:v>
                </c:pt>
                <c:pt idx="42">
                  <c:v>9464</c:v>
                </c:pt>
                <c:pt idx="43">
                  <c:v>9464</c:v>
                </c:pt>
                <c:pt idx="44">
                  <c:v>9464</c:v>
                </c:pt>
                <c:pt idx="45">
                  <c:v>9464</c:v>
                </c:pt>
                <c:pt idx="46">
                  <c:v>9464</c:v>
                </c:pt>
                <c:pt idx="47">
                  <c:v>9464</c:v>
                </c:pt>
                <c:pt idx="48">
                  <c:v>9464</c:v>
                </c:pt>
                <c:pt idx="49">
                  <c:v>9464</c:v>
                </c:pt>
                <c:pt idx="50">
                  <c:v>9464</c:v>
                </c:pt>
                <c:pt idx="51">
                  <c:v>9464</c:v>
                </c:pt>
                <c:pt idx="52">
                  <c:v>9464</c:v>
                </c:pt>
                <c:pt idx="53">
                  <c:v>9464</c:v>
                </c:pt>
                <c:pt idx="54">
                  <c:v>9464</c:v>
                </c:pt>
                <c:pt idx="55">
                  <c:v>9464</c:v>
                </c:pt>
                <c:pt idx="56">
                  <c:v>9464</c:v>
                </c:pt>
                <c:pt idx="57">
                  <c:v>9464</c:v>
                </c:pt>
                <c:pt idx="58">
                  <c:v>9464</c:v>
                </c:pt>
                <c:pt idx="59">
                  <c:v>9464</c:v>
                </c:pt>
                <c:pt idx="60">
                  <c:v>9464</c:v>
                </c:pt>
                <c:pt idx="61">
                  <c:v>9464</c:v>
                </c:pt>
                <c:pt idx="62">
                  <c:v>9464</c:v>
                </c:pt>
                <c:pt idx="63">
                  <c:v>9464</c:v>
                </c:pt>
                <c:pt idx="64">
                  <c:v>9464</c:v>
                </c:pt>
                <c:pt idx="65">
                  <c:v>9464</c:v>
                </c:pt>
                <c:pt idx="66">
                  <c:v>94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8F8-4AB8-A8EE-CBCC174D4D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4"/>
          <c:tx>
            <c:v>Počet hospitalizací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CU$7</c:f>
              <c:numCache>
                <c:formatCode>General</c:formatCode>
                <c:ptCount val="98"/>
                <c:pt idx="0">
                  <c:v>1501</c:v>
                </c:pt>
                <c:pt idx="1">
                  <c:v>1420</c:v>
                </c:pt>
                <c:pt idx="2">
                  <c:v>1397</c:v>
                </c:pt>
                <c:pt idx="3">
                  <c:v>1378</c:v>
                </c:pt>
                <c:pt idx="4">
                  <c:v>1344</c:v>
                </c:pt>
                <c:pt idx="5">
                  <c:v>1392</c:v>
                </c:pt>
                <c:pt idx="6">
                  <c:v>1358</c:v>
                </c:pt>
                <c:pt idx="7">
                  <c:v>1312</c:v>
                </c:pt>
                <c:pt idx="8">
                  <c:v>1232</c:v>
                </c:pt>
                <c:pt idx="9">
                  <c:v>1213</c:v>
                </c:pt>
                <c:pt idx="10">
                  <c:v>1195</c:v>
                </c:pt>
                <c:pt idx="11">
                  <c:v>1182</c:v>
                </c:pt>
                <c:pt idx="12">
                  <c:v>1154</c:v>
                </c:pt>
                <c:pt idx="13">
                  <c:v>1110</c:v>
                </c:pt>
                <c:pt idx="14">
                  <c:v>1033</c:v>
                </c:pt>
                <c:pt idx="15">
                  <c:v>1010</c:v>
                </c:pt>
                <c:pt idx="16">
                  <c:v>971</c:v>
                </c:pt>
                <c:pt idx="17">
                  <c:v>973</c:v>
                </c:pt>
                <c:pt idx="18">
                  <c:v>992</c:v>
                </c:pt>
                <c:pt idx="19">
                  <c:v>941</c:v>
                </c:pt>
                <c:pt idx="20">
                  <c:v>906</c:v>
                </c:pt>
                <c:pt idx="21">
                  <c:v>830</c:v>
                </c:pt>
                <c:pt idx="22">
                  <c:v>784</c:v>
                </c:pt>
                <c:pt idx="23">
                  <c:v>749</c:v>
                </c:pt>
                <c:pt idx="24">
                  <c:v>757</c:v>
                </c:pt>
                <c:pt idx="25">
                  <c:v>735</c:v>
                </c:pt>
                <c:pt idx="26">
                  <c:v>709</c:v>
                </c:pt>
                <c:pt idx="27">
                  <c:v>683</c:v>
                </c:pt>
                <c:pt idx="28">
                  <c:v>634</c:v>
                </c:pt>
                <c:pt idx="29">
                  <c:v>575</c:v>
                </c:pt>
                <c:pt idx="30">
                  <c:v>551</c:v>
                </c:pt>
                <c:pt idx="31">
                  <c:v>557</c:v>
                </c:pt>
                <c:pt idx="32">
                  <c:v>563</c:v>
                </c:pt>
                <c:pt idx="33">
                  <c:v>542</c:v>
                </c:pt>
                <c:pt idx="34">
                  <c:v>499</c:v>
                </c:pt>
                <c:pt idx="35">
                  <c:v>464</c:v>
                </c:pt>
                <c:pt idx="36">
                  <c:v>441</c:v>
                </c:pt>
                <c:pt idx="37">
                  <c:v>413</c:v>
                </c:pt>
                <c:pt idx="38">
                  <c:v>422</c:v>
                </c:pt>
                <c:pt idx="39">
                  <c:v>426</c:v>
                </c:pt>
                <c:pt idx="40">
                  <c:v>402</c:v>
                </c:pt>
                <c:pt idx="41">
                  <c:v>377</c:v>
                </c:pt>
                <c:pt idx="42">
                  <c:v>367</c:v>
                </c:pt>
                <c:pt idx="43">
                  <c:v>340</c:v>
                </c:pt>
                <c:pt idx="44">
                  <c:v>307</c:v>
                </c:pt>
                <c:pt idx="45">
                  <c:v>302</c:v>
                </c:pt>
                <c:pt idx="46">
                  <c:v>294</c:v>
                </c:pt>
                <c:pt idx="47">
                  <c:v>279</c:v>
                </c:pt>
                <c:pt idx="48">
                  <c:v>250</c:v>
                </c:pt>
                <c:pt idx="49">
                  <c:v>219</c:v>
                </c:pt>
                <c:pt idx="50">
                  <c:v>193</c:v>
                </c:pt>
                <c:pt idx="51">
                  <c:v>189</c:v>
                </c:pt>
                <c:pt idx="52">
                  <c:v>188</c:v>
                </c:pt>
                <c:pt idx="53">
                  <c:v>183</c:v>
                </c:pt>
                <c:pt idx="54">
                  <c:v>162</c:v>
                </c:pt>
                <c:pt idx="55">
                  <c:v>155</c:v>
                </c:pt>
                <c:pt idx="56">
                  <c:v>144</c:v>
                </c:pt>
                <c:pt idx="57">
                  <c:v>121</c:v>
                </c:pt>
                <c:pt idx="58">
                  <c:v>111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55F-43E9-953D-C9CE717F27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CU$2</c:f>
              <c:numCache>
                <c:formatCode>General</c:formatCode>
                <c:ptCount val="98"/>
                <c:pt idx="26">
                  <c:v>712.43872983210565</c:v>
                </c:pt>
                <c:pt idx="27">
                  <c:v>680.85320605749507</c:v>
                </c:pt>
                <c:pt idx="28">
                  <c:v>651.5621026606583</c:v>
                </c:pt>
                <c:pt idx="29">
                  <c:v>623.55678321008065</c:v>
                </c:pt>
                <c:pt idx="30">
                  <c:v>597.39898718966253</c:v>
                </c:pt>
                <c:pt idx="31">
                  <c:v>573.64042929923028</c:v>
                </c:pt>
                <c:pt idx="32">
                  <c:v>551.24024695820356</c:v>
                </c:pt>
                <c:pt idx="33">
                  <c:v>530.37050732899945</c:v>
                </c:pt>
                <c:pt idx="34">
                  <c:v>510.45725976489297</c:v>
                </c:pt>
                <c:pt idx="35">
                  <c:v>491.60838218842571</c:v>
                </c:pt>
                <c:pt idx="36">
                  <c:v>473.41853325775912</c:v>
                </c:pt>
                <c:pt idx="37">
                  <c:v>456.26954668296116</c:v>
                </c:pt>
                <c:pt idx="38">
                  <c:v>439.8768621782873</c:v>
                </c:pt>
                <c:pt idx="39">
                  <c:v>423.76120237760796</c:v>
                </c:pt>
                <c:pt idx="40">
                  <c:v>408.4114366125541</c:v>
                </c:pt>
                <c:pt idx="41">
                  <c:v>393.25773537891848</c:v>
                </c:pt>
                <c:pt idx="42">
                  <c:v>378.40709820789067</c:v>
                </c:pt>
                <c:pt idx="43">
                  <c:v>363.73441568631836</c:v>
                </c:pt>
                <c:pt idx="44">
                  <c:v>349.42056930842341</c:v>
                </c:pt>
                <c:pt idx="45">
                  <c:v>335.42059559249395</c:v>
                </c:pt>
                <c:pt idx="46">
                  <c:v>321.79414887381375</c:v>
                </c:pt>
                <c:pt idx="47">
                  <c:v>308.53304930739375</c:v>
                </c:pt>
                <c:pt idx="48">
                  <c:v>295.51401232423285</c:v>
                </c:pt>
                <c:pt idx="49">
                  <c:v>282.89405227992489</c:v>
                </c:pt>
                <c:pt idx="50">
                  <c:v>270.45095008853383</c:v>
                </c:pt>
                <c:pt idx="51">
                  <c:v>258.38891625148716</c:v>
                </c:pt>
                <c:pt idx="52">
                  <c:v>246.73841968975324</c:v>
                </c:pt>
                <c:pt idx="53">
                  <c:v>235.53153061592064</c:v>
                </c:pt>
                <c:pt idx="54">
                  <c:v>224.60820005150549</c:v>
                </c:pt>
                <c:pt idx="55">
                  <c:v>214.09252154238152</c:v>
                </c:pt>
                <c:pt idx="56">
                  <c:v>203.96889972933829</c:v>
                </c:pt>
                <c:pt idx="57">
                  <c:v>194.2051928901956</c:v>
                </c:pt>
                <c:pt idx="58">
                  <c:v>184.77638080115489</c:v>
                </c:pt>
                <c:pt idx="59">
                  <c:v>175.70172360066476</c:v>
                </c:pt>
                <c:pt idx="60">
                  <c:v>167.07520572286853</c:v>
                </c:pt>
                <c:pt idx="61">
                  <c:v>158.82244747792544</c:v>
                </c:pt>
                <c:pt idx="62">
                  <c:v>150.89428527706372</c:v>
                </c:pt>
                <c:pt idx="63">
                  <c:v>143.36999392981031</c:v>
                </c:pt>
                <c:pt idx="64">
                  <c:v>136.07085987914178</c:v>
                </c:pt>
                <c:pt idx="65">
                  <c:v>129.12066785338448</c:v>
                </c:pt>
                <c:pt idx="66">
                  <c:v>122.510853979832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55F-43E9-953D-C9CE717F27E6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CU$3</c:f>
              <c:numCache>
                <c:formatCode>General</c:formatCode>
                <c:ptCount val="98"/>
                <c:pt idx="26">
                  <c:v>712.98876248241982</c:v>
                </c:pt>
                <c:pt idx="27">
                  <c:v>682.41286438042255</c:v>
                </c:pt>
                <c:pt idx="28">
                  <c:v>654.49173584415189</c:v>
                </c:pt>
                <c:pt idx="29">
                  <c:v>628.13934425481079</c:v>
                </c:pt>
                <c:pt idx="30">
                  <c:v>603.96611728825189</c:v>
                </c:pt>
                <c:pt idx="31">
                  <c:v>582.55655607243784</c:v>
                </c:pt>
                <c:pt idx="32">
                  <c:v>562.91095544433108</c:v>
                </c:pt>
                <c:pt idx="33">
                  <c:v>545.21407355090992</c:v>
                </c:pt>
                <c:pt idx="34">
                  <c:v>528.79550186756444</c:v>
                </c:pt>
                <c:pt idx="35">
                  <c:v>513.69916199789293</c:v>
                </c:pt>
                <c:pt idx="36">
                  <c:v>499.47985944811921</c:v>
                </c:pt>
                <c:pt idx="37">
                  <c:v>486.49920156576968</c:v>
                </c:pt>
                <c:pt idx="38">
                  <c:v>474.4379571654149</c:v>
                </c:pt>
                <c:pt idx="39">
                  <c:v>462.76512581381337</c:v>
                </c:pt>
                <c:pt idx="40">
                  <c:v>451.90333736922213</c:v>
                </c:pt>
                <c:pt idx="41">
                  <c:v>441.22273582104395</c:v>
                </c:pt>
                <c:pt idx="42">
                  <c:v>430.79938966718987</c:v>
                </c:pt>
                <c:pt idx="43">
                  <c:v>420.47358926063424</c:v>
                </c:pt>
                <c:pt idx="44">
                  <c:v>410.39551747197368</c:v>
                </c:pt>
                <c:pt idx="45">
                  <c:v>400.49014784504021</c:v>
                </c:pt>
                <c:pt idx="46">
                  <c:v>390.79971608668461</c:v>
                </c:pt>
                <c:pt idx="47">
                  <c:v>381.29069759549327</c:v>
                </c:pt>
                <c:pt idx="48">
                  <c:v>371.81645527560374</c:v>
                </c:pt>
                <c:pt idx="49">
                  <c:v>362.5330370260034</c:v>
                </c:pt>
                <c:pt idx="50">
                  <c:v>353.2039428987971</c:v>
                </c:pt>
                <c:pt idx="51">
                  <c:v>344.03076599440504</c:v>
                </c:pt>
                <c:pt idx="52">
                  <c:v>335.04132086192249</c:v>
                </c:pt>
                <c:pt idx="53">
                  <c:v>326.26790943662024</c:v>
                </c:pt>
                <c:pt idx="54">
                  <c:v>317.55126942873432</c:v>
                </c:pt>
                <c:pt idx="55">
                  <c:v>309.02023076263083</c:v>
                </c:pt>
                <c:pt idx="56">
                  <c:v>300.66239917257843</c:v>
                </c:pt>
                <c:pt idx="57">
                  <c:v>292.45404749031923</c:v>
                </c:pt>
                <c:pt idx="58">
                  <c:v>284.3762938445999</c:v>
                </c:pt>
                <c:pt idx="59">
                  <c:v>276.45726041464633</c:v>
                </c:pt>
                <c:pt idx="60">
                  <c:v>268.7965540805148</c:v>
                </c:pt>
                <c:pt idx="61">
                  <c:v>261.33416786664185</c:v>
                </c:pt>
                <c:pt idx="62">
                  <c:v>254.02401061156294</c:v>
                </c:pt>
                <c:pt idx="63">
                  <c:v>246.958408950923</c:v>
                </c:pt>
                <c:pt idx="64">
                  <c:v>239.96527629294263</c:v>
                </c:pt>
                <c:pt idx="65">
                  <c:v>233.17745936769148</c:v>
                </c:pt>
                <c:pt idx="66">
                  <c:v>226.591958690773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55F-43E9-953D-C9CE717F27E6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CU$4</c:f>
              <c:numCache>
                <c:formatCode>General</c:formatCode>
                <c:ptCount val="98"/>
                <c:pt idx="26">
                  <c:v>713.53462821871597</c:v>
                </c:pt>
                <c:pt idx="27">
                  <c:v>683.96714688620352</c:v>
                </c:pt>
                <c:pt idx="28">
                  <c:v>657.41515382780187</c:v>
                </c:pt>
                <c:pt idx="29">
                  <c:v>632.71496132046911</c:v>
                </c:pt>
                <c:pt idx="30">
                  <c:v>610.5506537112617</c:v>
                </c:pt>
                <c:pt idx="31">
                  <c:v>591.56350865560921</c:v>
                </c:pt>
                <c:pt idx="32">
                  <c:v>574.81714247051502</c:v>
                </c:pt>
                <c:pt idx="33">
                  <c:v>560.52062365126164</c:v>
                </c:pt>
                <c:pt idx="34">
                  <c:v>547.90395099461273</c:v>
                </c:pt>
                <c:pt idx="35">
                  <c:v>536.94701676095406</c:v>
                </c:pt>
                <c:pt idx="36">
                  <c:v>527.19340720809441</c:v>
                </c:pt>
                <c:pt idx="37">
                  <c:v>519.01145146651311</c:v>
                </c:pt>
                <c:pt idx="38">
                  <c:v>512.04997731859964</c:v>
                </c:pt>
                <c:pt idx="39">
                  <c:v>505.7270070112325</c:v>
                </c:pt>
                <c:pt idx="40">
                  <c:v>500.41296658464313</c:v>
                </c:pt>
                <c:pt idx="41">
                  <c:v>495.41688791621959</c:v>
                </c:pt>
                <c:pt idx="42">
                  <c:v>490.7757788200102</c:v>
                </c:pt>
                <c:pt idx="43">
                  <c:v>486.30841519447472</c:v>
                </c:pt>
                <c:pt idx="44">
                  <c:v>482.14592078660121</c:v>
                </c:pt>
                <c:pt idx="45">
                  <c:v>478.17470468414865</c:v>
                </c:pt>
                <c:pt idx="46">
                  <c:v>474.39443152815562</c:v>
                </c:pt>
                <c:pt idx="47">
                  <c:v>470.74300778637439</c:v>
                </c:pt>
                <c:pt idx="48">
                  <c:v>467.06244808554663</c:v>
                </c:pt>
                <c:pt idx="49">
                  <c:v>463.4843739509364</c:v>
                </c:pt>
                <c:pt idx="50">
                  <c:v>459.76431532745664</c:v>
                </c:pt>
                <c:pt idx="51">
                  <c:v>456.08338778718974</c:v>
                </c:pt>
                <c:pt idx="52">
                  <c:v>452.45977784525905</c:v>
                </c:pt>
                <c:pt idx="53">
                  <c:v>448.91342890858789</c:v>
                </c:pt>
                <c:pt idx="54">
                  <c:v>445.27749248814922</c:v>
                </c:pt>
                <c:pt idx="55">
                  <c:v>441.68460345303595</c:v>
                </c:pt>
                <c:pt idx="56">
                  <c:v>438.11175765773083</c:v>
                </c:pt>
                <c:pt idx="57">
                  <c:v>434.53111596809697</c:v>
                </c:pt>
                <c:pt idx="58">
                  <c:v>430.92969958213803</c:v>
                </c:pt>
                <c:pt idx="59">
                  <c:v>427.32253192053236</c:v>
                </c:pt>
                <c:pt idx="60">
                  <c:v>423.81754074420707</c:v>
                </c:pt>
                <c:pt idx="61">
                  <c:v>420.3521680688246</c:v>
                </c:pt>
                <c:pt idx="62">
                  <c:v>416.88367201206717</c:v>
                </c:pt>
                <c:pt idx="63">
                  <c:v>413.50470438878438</c:v>
                </c:pt>
                <c:pt idx="64">
                  <c:v>410.04390844283131</c:v>
                </c:pt>
                <c:pt idx="65">
                  <c:v>406.64172789775728</c:v>
                </c:pt>
                <c:pt idx="66">
                  <c:v>403.293755017394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55F-43E9-953D-C9CE717F27E6}"/>
            </c:ext>
          </c:extLst>
        </c:ser>
        <c:ser>
          <c:idx val="4"/>
          <c:order val="3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CU$6</c:f>
              <c:numCache>
                <c:formatCode>General</c:formatCode>
                <c:ptCount val="98"/>
                <c:pt idx="0">
                  <c:v>1893</c:v>
                </c:pt>
                <c:pt idx="1">
                  <c:v>1893</c:v>
                </c:pt>
                <c:pt idx="2">
                  <c:v>1893</c:v>
                </c:pt>
                <c:pt idx="3">
                  <c:v>1893</c:v>
                </c:pt>
                <c:pt idx="4">
                  <c:v>1893</c:v>
                </c:pt>
                <c:pt idx="5">
                  <c:v>1893</c:v>
                </c:pt>
                <c:pt idx="6">
                  <c:v>1893</c:v>
                </c:pt>
                <c:pt idx="7">
                  <c:v>1893</c:v>
                </c:pt>
                <c:pt idx="8">
                  <c:v>1893</c:v>
                </c:pt>
                <c:pt idx="9">
                  <c:v>1893</c:v>
                </c:pt>
                <c:pt idx="10">
                  <c:v>1893</c:v>
                </c:pt>
                <c:pt idx="11">
                  <c:v>1893</c:v>
                </c:pt>
                <c:pt idx="12">
                  <c:v>1893</c:v>
                </c:pt>
                <c:pt idx="13">
                  <c:v>1893</c:v>
                </c:pt>
                <c:pt idx="14">
                  <c:v>1893</c:v>
                </c:pt>
                <c:pt idx="15">
                  <c:v>1893</c:v>
                </c:pt>
                <c:pt idx="16">
                  <c:v>1893</c:v>
                </c:pt>
                <c:pt idx="17">
                  <c:v>1893</c:v>
                </c:pt>
                <c:pt idx="18">
                  <c:v>1893</c:v>
                </c:pt>
                <c:pt idx="19">
                  <c:v>1893</c:v>
                </c:pt>
                <c:pt idx="20">
                  <c:v>1893</c:v>
                </c:pt>
                <c:pt idx="21">
                  <c:v>1893</c:v>
                </c:pt>
                <c:pt idx="22">
                  <c:v>1893</c:v>
                </c:pt>
                <c:pt idx="23">
                  <c:v>1893</c:v>
                </c:pt>
                <c:pt idx="24">
                  <c:v>1893</c:v>
                </c:pt>
                <c:pt idx="25">
                  <c:v>1893</c:v>
                </c:pt>
                <c:pt idx="26">
                  <c:v>1893</c:v>
                </c:pt>
                <c:pt idx="27">
                  <c:v>1893</c:v>
                </c:pt>
                <c:pt idx="28">
                  <c:v>1893</c:v>
                </c:pt>
                <c:pt idx="29">
                  <c:v>1893</c:v>
                </c:pt>
                <c:pt idx="30">
                  <c:v>1893</c:v>
                </c:pt>
                <c:pt idx="31">
                  <c:v>1893</c:v>
                </c:pt>
                <c:pt idx="32">
                  <c:v>1893</c:v>
                </c:pt>
                <c:pt idx="33">
                  <c:v>1893</c:v>
                </c:pt>
                <c:pt idx="34">
                  <c:v>1893</c:v>
                </c:pt>
                <c:pt idx="35">
                  <c:v>1893</c:v>
                </c:pt>
                <c:pt idx="36">
                  <c:v>1893</c:v>
                </c:pt>
                <c:pt idx="37">
                  <c:v>1893</c:v>
                </c:pt>
                <c:pt idx="38">
                  <c:v>1893</c:v>
                </c:pt>
                <c:pt idx="39">
                  <c:v>1893</c:v>
                </c:pt>
                <c:pt idx="40">
                  <c:v>1893</c:v>
                </c:pt>
                <c:pt idx="41">
                  <c:v>1893</c:v>
                </c:pt>
                <c:pt idx="42">
                  <c:v>1893</c:v>
                </c:pt>
                <c:pt idx="43">
                  <c:v>1893</c:v>
                </c:pt>
                <c:pt idx="44">
                  <c:v>1893</c:v>
                </c:pt>
                <c:pt idx="45">
                  <c:v>1893</c:v>
                </c:pt>
                <c:pt idx="46">
                  <c:v>1893</c:v>
                </c:pt>
                <c:pt idx="47">
                  <c:v>1893</c:v>
                </c:pt>
                <c:pt idx="48">
                  <c:v>1893</c:v>
                </c:pt>
                <c:pt idx="49">
                  <c:v>1893</c:v>
                </c:pt>
                <c:pt idx="50">
                  <c:v>1893</c:v>
                </c:pt>
                <c:pt idx="51">
                  <c:v>1893</c:v>
                </c:pt>
                <c:pt idx="52">
                  <c:v>1893</c:v>
                </c:pt>
                <c:pt idx="53">
                  <c:v>1893</c:v>
                </c:pt>
                <c:pt idx="54">
                  <c:v>1893</c:v>
                </c:pt>
                <c:pt idx="55">
                  <c:v>1893</c:v>
                </c:pt>
                <c:pt idx="56">
                  <c:v>1893</c:v>
                </c:pt>
                <c:pt idx="57">
                  <c:v>1893</c:v>
                </c:pt>
                <c:pt idx="58">
                  <c:v>1893</c:v>
                </c:pt>
                <c:pt idx="59">
                  <c:v>1893</c:v>
                </c:pt>
                <c:pt idx="60">
                  <c:v>1893</c:v>
                </c:pt>
                <c:pt idx="61">
                  <c:v>1893</c:v>
                </c:pt>
                <c:pt idx="62">
                  <c:v>1893</c:v>
                </c:pt>
                <c:pt idx="63">
                  <c:v>1893</c:v>
                </c:pt>
                <c:pt idx="64">
                  <c:v>1893</c:v>
                </c:pt>
                <c:pt idx="65">
                  <c:v>1893</c:v>
                </c:pt>
                <c:pt idx="66">
                  <c:v>18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55F-43E9-953D-C9CE717F27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  <c:max val="220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cs-CZ" sz="2000" b="1">
                <a:solidFill>
                  <a:sysClr val="windowText" lastClr="000000"/>
                </a:solidFill>
              </a:rPr>
              <a:t>Vývoj </a:t>
            </a:r>
            <a:r>
              <a:rPr lang="cs-CZ" sz="2000" b="1" baseline="0">
                <a:solidFill>
                  <a:sysClr val="windowText" lastClr="000000"/>
                </a:solidFill>
              </a:rPr>
              <a:t>obsazenosti C+ lůžek v ČR</a:t>
            </a:r>
            <a:endParaRPr lang="cs-CZ" sz="2000" b="1">
              <a:solidFill>
                <a:sysClr val="windowText" lastClr="000000"/>
              </a:solidFill>
            </a:endParaRPr>
          </a:p>
        </c:rich>
      </c:tx>
      <c:layout>
        <c:manualLayout>
          <c:xMode val="edge"/>
          <c:yMode val="edge"/>
          <c:x val="0.2289084141560391"/>
          <c:y val="1.019758012226657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[Obsazenost lůžek.xlsx]List1'!$D$4</c:f>
              <c:strCache>
                <c:ptCount val="1"/>
                <c:pt idx="0">
                  <c:v>Standardní lůžka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[Obsazenost lůžek.xlsx]List1'!$C$5:$C$67</c:f>
              <c:numCache>
                <c:formatCode>m/d/yyyy</c:formatCode>
                <c:ptCount val="63"/>
                <c:pt idx="0">
                  <c:v>44270</c:v>
                </c:pt>
                <c:pt idx="1">
                  <c:v>44271</c:v>
                </c:pt>
                <c:pt idx="2">
                  <c:v>44272</c:v>
                </c:pt>
                <c:pt idx="3">
                  <c:v>44273</c:v>
                </c:pt>
                <c:pt idx="4">
                  <c:v>44274</c:v>
                </c:pt>
                <c:pt idx="5">
                  <c:v>44275</c:v>
                </c:pt>
                <c:pt idx="6">
                  <c:v>44276</c:v>
                </c:pt>
                <c:pt idx="7">
                  <c:v>44277</c:v>
                </c:pt>
                <c:pt idx="8">
                  <c:v>44278</c:v>
                </c:pt>
                <c:pt idx="9">
                  <c:v>44279</c:v>
                </c:pt>
                <c:pt idx="10">
                  <c:v>44280</c:v>
                </c:pt>
                <c:pt idx="11">
                  <c:v>44281</c:v>
                </c:pt>
                <c:pt idx="12">
                  <c:v>44282</c:v>
                </c:pt>
                <c:pt idx="13">
                  <c:v>44283</c:v>
                </c:pt>
                <c:pt idx="14">
                  <c:v>44284</c:v>
                </c:pt>
                <c:pt idx="15">
                  <c:v>44285</c:v>
                </c:pt>
                <c:pt idx="16">
                  <c:v>44286</c:v>
                </c:pt>
                <c:pt idx="17">
                  <c:v>44287</c:v>
                </c:pt>
                <c:pt idx="18">
                  <c:v>44288</c:v>
                </c:pt>
                <c:pt idx="19">
                  <c:v>44289</c:v>
                </c:pt>
                <c:pt idx="20">
                  <c:v>44290</c:v>
                </c:pt>
                <c:pt idx="21">
                  <c:v>44291</c:v>
                </c:pt>
                <c:pt idx="22">
                  <c:v>44292</c:v>
                </c:pt>
                <c:pt idx="23">
                  <c:v>44293</c:v>
                </c:pt>
                <c:pt idx="24">
                  <c:v>44294</c:v>
                </c:pt>
                <c:pt idx="25">
                  <c:v>44295</c:v>
                </c:pt>
                <c:pt idx="26">
                  <c:v>44296</c:v>
                </c:pt>
                <c:pt idx="27">
                  <c:v>44297</c:v>
                </c:pt>
                <c:pt idx="28">
                  <c:v>44298</c:v>
                </c:pt>
                <c:pt idx="29">
                  <c:v>44299</c:v>
                </c:pt>
                <c:pt idx="30">
                  <c:v>44300</c:v>
                </c:pt>
                <c:pt idx="31">
                  <c:v>44301</c:v>
                </c:pt>
                <c:pt idx="32">
                  <c:v>44302</c:v>
                </c:pt>
                <c:pt idx="33">
                  <c:v>44303</c:v>
                </c:pt>
                <c:pt idx="34">
                  <c:v>44304</c:v>
                </c:pt>
                <c:pt idx="35">
                  <c:v>44305</c:v>
                </c:pt>
                <c:pt idx="36">
                  <c:v>44306</c:v>
                </c:pt>
                <c:pt idx="37">
                  <c:v>44307</c:v>
                </c:pt>
                <c:pt idx="38">
                  <c:v>44308</c:v>
                </c:pt>
                <c:pt idx="39">
                  <c:v>44309</c:v>
                </c:pt>
                <c:pt idx="40">
                  <c:v>44310</c:v>
                </c:pt>
                <c:pt idx="41">
                  <c:v>44311</c:v>
                </c:pt>
                <c:pt idx="42">
                  <c:v>44312</c:v>
                </c:pt>
                <c:pt idx="43">
                  <c:v>44313</c:v>
                </c:pt>
                <c:pt idx="44">
                  <c:v>44314</c:v>
                </c:pt>
                <c:pt idx="45">
                  <c:v>44315</c:v>
                </c:pt>
                <c:pt idx="46">
                  <c:v>44316</c:v>
                </c:pt>
                <c:pt idx="47">
                  <c:v>44319</c:v>
                </c:pt>
                <c:pt idx="48">
                  <c:v>44320</c:v>
                </c:pt>
                <c:pt idx="49">
                  <c:v>44321</c:v>
                </c:pt>
                <c:pt idx="50">
                  <c:v>44322</c:v>
                </c:pt>
                <c:pt idx="51">
                  <c:v>44323</c:v>
                </c:pt>
                <c:pt idx="52">
                  <c:v>44326</c:v>
                </c:pt>
                <c:pt idx="53">
                  <c:v>44327</c:v>
                </c:pt>
                <c:pt idx="54">
                  <c:v>44328</c:v>
                </c:pt>
                <c:pt idx="55">
                  <c:v>44329</c:v>
                </c:pt>
                <c:pt idx="56">
                  <c:v>44330</c:v>
                </c:pt>
                <c:pt idx="57">
                  <c:v>44333</c:v>
                </c:pt>
                <c:pt idx="58">
                  <c:v>44334</c:v>
                </c:pt>
                <c:pt idx="59">
                  <c:v>44335</c:v>
                </c:pt>
                <c:pt idx="60">
                  <c:v>44336</c:v>
                </c:pt>
              </c:numCache>
            </c:numRef>
          </c:cat>
          <c:val>
            <c:numRef>
              <c:f>'[Obsazenost lůžek.xlsx]List1'!$D$5:$D$67</c:f>
              <c:numCache>
                <c:formatCode>#,##0</c:formatCode>
                <c:ptCount val="63"/>
                <c:pt idx="0">
                  <c:v>6602</c:v>
                </c:pt>
                <c:pt idx="1">
                  <c:v>7115</c:v>
                </c:pt>
                <c:pt idx="2">
                  <c:v>7150</c:v>
                </c:pt>
                <c:pt idx="3">
                  <c:v>7071</c:v>
                </c:pt>
                <c:pt idx="4">
                  <c:v>6936</c:v>
                </c:pt>
                <c:pt idx="5">
                  <c:v>6814</c:v>
                </c:pt>
                <c:pt idx="6">
                  <c:v>6376</c:v>
                </c:pt>
                <c:pt idx="7">
                  <c:v>6239</c:v>
                </c:pt>
                <c:pt idx="8">
                  <c:v>6746</c:v>
                </c:pt>
                <c:pt idx="9">
                  <c:v>6640</c:v>
                </c:pt>
                <c:pt idx="10">
                  <c:v>6384</c:v>
                </c:pt>
                <c:pt idx="11">
                  <c:v>6242</c:v>
                </c:pt>
                <c:pt idx="12">
                  <c:v>6215</c:v>
                </c:pt>
                <c:pt idx="13">
                  <c:v>5696</c:v>
                </c:pt>
                <c:pt idx="14">
                  <c:v>5570</c:v>
                </c:pt>
                <c:pt idx="15">
                  <c:v>6118</c:v>
                </c:pt>
                <c:pt idx="16">
                  <c:v>5980</c:v>
                </c:pt>
                <c:pt idx="17">
                  <c:v>5751</c:v>
                </c:pt>
                <c:pt idx="18">
                  <c:v>5548</c:v>
                </c:pt>
                <c:pt idx="19">
                  <c:v>5084</c:v>
                </c:pt>
                <c:pt idx="20">
                  <c:v>4968</c:v>
                </c:pt>
                <c:pt idx="21">
                  <c:v>4475</c:v>
                </c:pt>
                <c:pt idx="22">
                  <c:v>4457</c:v>
                </c:pt>
                <c:pt idx="23">
                  <c:v>5460</c:v>
                </c:pt>
                <c:pt idx="24">
                  <c:v>5189</c:v>
                </c:pt>
                <c:pt idx="25">
                  <c:v>4832</c:v>
                </c:pt>
                <c:pt idx="26">
                  <c:v>4586</c:v>
                </c:pt>
                <c:pt idx="27">
                  <c:v>4030</c:v>
                </c:pt>
                <c:pt idx="28">
                  <c:v>3880</c:v>
                </c:pt>
                <c:pt idx="29">
                  <c:v>4182</c:v>
                </c:pt>
                <c:pt idx="30">
                  <c:v>3963</c:v>
                </c:pt>
                <c:pt idx="31">
                  <c:v>3757</c:v>
                </c:pt>
                <c:pt idx="32">
                  <c:v>3574</c:v>
                </c:pt>
                <c:pt idx="33">
                  <c:v>3379</c:v>
                </c:pt>
                <c:pt idx="34">
                  <c:v>3041</c:v>
                </c:pt>
                <c:pt idx="35">
                  <c:v>2951</c:v>
                </c:pt>
                <c:pt idx="36">
                  <c:v>3125</c:v>
                </c:pt>
                <c:pt idx="37">
                  <c:v>3120</c:v>
                </c:pt>
                <c:pt idx="38">
                  <c:v>2986</c:v>
                </c:pt>
                <c:pt idx="39">
                  <c:v>2841</c:v>
                </c:pt>
                <c:pt idx="40">
                  <c:v>2668</c:v>
                </c:pt>
                <c:pt idx="41">
                  <c:v>2378</c:v>
                </c:pt>
                <c:pt idx="42">
                  <c:v>2351</c:v>
                </c:pt>
                <c:pt idx="43">
                  <c:v>2463</c:v>
                </c:pt>
                <c:pt idx="44">
                  <c:v>2374</c:v>
                </c:pt>
                <c:pt idx="45">
                  <c:v>2270</c:v>
                </c:pt>
                <c:pt idx="46">
                  <c:v>2151</c:v>
                </c:pt>
                <c:pt idx="47">
                  <c:v>1847</c:v>
                </c:pt>
                <c:pt idx="48">
                  <c:v>2020</c:v>
                </c:pt>
                <c:pt idx="49">
                  <c:v>1944</c:v>
                </c:pt>
                <c:pt idx="50">
                  <c:v>1844</c:v>
                </c:pt>
                <c:pt idx="51">
                  <c:v>1717</c:v>
                </c:pt>
                <c:pt idx="52">
                  <c:v>1410</c:v>
                </c:pt>
                <c:pt idx="53">
                  <c:v>1487</c:v>
                </c:pt>
                <c:pt idx="54">
                  <c:v>1400</c:v>
                </c:pt>
                <c:pt idx="55">
                  <c:v>1324</c:v>
                </c:pt>
                <c:pt idx="56">
                  <c:v>1208</c:v>
                </c:pt>
                <c:pt idx="57">
                  <c:v>1015</c:v>
                </c:pt>
                <c:pt idx="58">
                  <c:v>1059</c:v>
                </c:pt>
                <c:pt idx="59">
                  <c:v>979</c:v>
                </c:pt>
                <c:pt idx="60">
                  <c:v>8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BCB-43BA-BF70-63C33A53A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12050880"/>
        <c:axId val="712047136"/>
      </c:lineChart>
      <c:lineChart>
        <c:grouping val="standard"/>
        <c:varyColors val="0"/>
        <c:ser>
          <c:idx val="1"/>
          <c:order val="1"/>
          <c:tx>
            <c:strRef>
              <c:f>'[Obsazenost lůžek.xlsx]List1'!$E$4</c:f>
              <c:strCache>
                <c:ptCount val="1"/>
                <c:pt idx="0">
                  <c:v>Intenzivní péče (UPV/NIV + CPAP/HFNO)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[Obsazenost lůžek.xlsx]List1'!$C$5:$C$67</c:f>
              <c:numCache>
                <c:formatCode>m/d/yyyy</c:formatCode>
                <c:ptCount val="63"/>
                <c:pt idx="0">
                  <c:v>44270</c:v>
                </c:pt>
                <c:pt idx="1">
                  <c:v>44271</c:v>
                </c:pt>
                <c:pt idx="2">
                  <c:v>44272</c:v>
                </c:pt>
                <c:pt idx="3">
                  <c:v>44273</c:v>
                </c:pt>
                <c:pt idx="4">
                  <c:v>44274</c:v>
                </c:pt>
                <c:pt idx="5">
                  <c:v>44275</c:v>
                </c:pt>
                <c:pt idx="6">
                  <c:v>44276</c:v>
                </c:pt>
                <c:pt idx="7">
                  <c:v>44277</c:v>
                </c:pt>
                <c:pt idx="8">
                  <c:v>44278</c:v>
                </c:pt>
                <c:pt idx="9">
                  <c:v>44279</c:v>
                </c:pt>
                <c:pt idx="10">
                  <c:v>44280</c:v>
                </c:pt>
                <c:pt idx="11">
                  <c:v>44281</c:v>
                </c:pt>
                <c:pt idx="12">
                  <c:v>44282</c:v>
                </c:pt>
                <c:pt idx="13">
                  <c:v>44283</c:v>
                </c:pt>
                <c:pt idx="14">
                  <c:v>44284</c:v>
                </c:pt>
                <c:pt idx="15">
                  <c:v>44285</c:v>
                </c:pt>
                <c:pt idx="16">
                  <c:v>44286</c:v>
                </c:pt>
                <c:pt idx="17">
                  <c:v>44287</c:v>
                </c:pt>
                <c:pt idx="18">
                  <c:v>44288</c:v>
                </c:pt>
                <c:pt idx="19">
                  <c:v>44289</c:v>
                </c:pt>
                <c:pt idx="20">
                  <c:v>44290</c:v>
                </c:pt>
                <c:pt idx="21">
                  <c:v>44291</c:v>
                </c:pt>
                <c:pt idx="22">
                  <c:v>44292</c:v>
                </c:pt>
                <c:pt idx="23">
                  <c:v>44293</c:v>
                </c:pt>
                <c:pt idx="24">
                  <c:v>44294</c:v>
                </c:pt>
                <c:pt idx="25">
                  <c:v>44295</c:v>
                </c:pt>
                <c:pt idx="26">
                  <c:v>44296</c:v>
                </c:pt>
                <c:pt idx="27">
                  <c:v>44297</c:v>
                </c:pt>
                <c:pt idx="28">
                  <c:v>44298</c:v>
                </c:pt>
                <c:pt idx="29">
                  <c:v>44299</c:v>
                </c:pt>
                <c:pt idx="30">
                  <c:v>44300</c:v>
                </c:pt>
                <c:pt idx="31">
                  <c:v>44301</c:v>
                </c:pt>
                <c:pt idx="32">
                  <c:v>44302</c:v>
                </c:pt>
                <c:pt idx="33">
                  <c:v>44303</c:v>
                </c:pt>
                <c:pt idx="34">
                  <c:v>44304</c:v>
                </c:pt>
                <c:pt idx="35">
                  <c:v>44305</c:v>
                </c:pt>
                <c:pt idx="36">
                  <c:v>44306</c:v>
                </c:pt>
                <c:pt idx="37">
                  <c:v>44307</c:v>
                </c:pt>
                <c:pt idx="38">
                  <c:v>44308</c:v>
                </c:pt>
                <c:pt idx="39">
                  <c:v>44309</c:v>
                </c:pt>
                <c:pt idx="40">
                  <c:v>44310</c:v>
                </c:pt>
                <c:pt idx="41">
                  <c:v>44311</c:v>
                </c:pt>
                <c:pt idx="42">
                  <c:v>44312</c:v>
                </c:pt>
                <c:pt idx="43">
                  <c:v>44313</c:v>
                </c:pt>
                <c:pt idx="44">
                  <c:v>44314</c:v>
                </c:pt>
                <c:pt idx="45">
                  <c:v>44315</c:v>
                </c:pt>
                <c:pt idx="46">
                  <c:v>44316</c:v>
                </c:pt>
                <c:pt idx="47">
                  <c:v>44319</c:v>
                </c:pt>
                <c:pt idx="48">
                  <c:v>44320</c:v>
                </c:pt>
                <c:pt idx="49">
                  <c:v>44321</c:v>
                </c:pt>
                <c:pt idx="50">
                  <c:v>44322</c:v>
                </c:pt>
                <c:pt idx="51">
                  <c:v>44323</c:v>
                </c:pt>
                <c:pt idx="52">
                  <c:v>44326</c:v>
                </c:pt>
                <c:pt idx="53">
                  <c:v>44327</c:v>
                </c:pt>
                <c:pt idx="54">
                  <c:v>44328</c:v>
                </c:pt>
                <c:pt idx="55">
                  <c:v>44329</c:v>
                </c:pt>
                <c:pt idx="56">
                  <c:v>44330</c:v>
                </c:pt>
                <c:pt idx="57">
                  <c:v>44333</c:v>
                </c:pt>
                <c:pt idx="58">
                  <c:v>44334</c:v>
                </c:pt>
                <c:pt idx="59">
                  <c:v>44335</c:v>
                </c:pt>
                <c:pt idx="60">
                  <c:v>44336</c:v>
                </c:pt>
              </c:numCache>
            </c:numRef>
          </c:cat>
          <c:val>
            <c:numRef>
              <c:f>'[Obsazenost lůžek.xlsx]List1'!$E$5:$E$67</c:f>
              <c:numCache>
                <c:formatCode>#,##0</c:formatCode>
                <c:ptCount val="63"/>
                <c:pt idx="0">
                  <c:v>1760</c:v>
                </c:pt>
                <c:pt idx="1">
                  <c:v>1824</c:v>
                </c:pt>
                <c:pt idx="2">
                  <c:v>1856</c:v>
                </c:pt>
                <c:pt idx="3">
                  <c:v>1839</c:v>
                </c:pt>
                <c:pt idx="4">
                  <c:v>1837</c:v>
                </c:pt>
                <c:pt idx="5">
                  <c:v>1818</c:v>
                </c:pt>
                <c:pt idx="6">
                  <c:v>1792</c:v>
                </c:pt>
                <c:pt idx="7">
                  <c:v>1768</c:v>
                </c:pt>
                <c:pt idx="8">
                  <c:v>1799</c:v>
                </c:pt>
                <c:pt idx="9">
                  <c:v>1762</c:v>
                </c:pt>
                <c:pt idx="10">
                  <c:v>1739</c:v>
                </c:pt>
                <c:pt idx="11">
                  <c:v>1723</c:v>
                </c:pt>
                <c:pt idx="12">
                  <c:v>1682</c:v>
                </c:pt>
                <c:pt idx="13">
                  <c:v>1641</c:v>
                </c:pt>
                <c:pt idx="14">
                  <c:v>1618</c:v>
                </c:pt>
                <c:pt idx="15">
                  <c:v>1606</c:v>
                </c:pt>
                <c:pt idx="16">
                  <c:v>1600</c:v>
                </c:pt>
                <c:pt idx="17">
                  <c:v>1547</c:v>
                </c:pt>
                <c:pt idx="18">
                  <c:v>1504</c:v>
                </c:pt>
                <c:pt idx="19">
                  <c:v>1446</c:v>
                </c:pt>
                <c:pt idx="20">
                  <c:v>1416</c:v>
                </c:pt>
                <c:pt idx="21">
                  <c:v>1312</c:v>
                </c:pt>
                <c:pt idx="22">
                  <c:v>1365</c:v>
                </c:pt>
                <c:pt idx="23">
                  <c:v>1315</c:v>
                </c:pt>
                <c:pt idx="24">
                  <c:v>1315</c:v>
                </c:pt>
                <c:pt idx="25">
                  <c:v>1312</c:v>
                </c:pt>
                <c:pt idx="26">
                  <c:v>1275</c:v>
                </c:pt>
                <c:pt idx="27">
                  <c:v>1241</c:v>
                </c:pt>
                <c:pt idx="28">
                  <c:v>1190</c:v>
                </c:pt>
                <c:pt idx="29">
                  <c:v>1166</c:v>
                </c:pt>
                <c:pt idx="30">
                  <c:v>1166</c:v>
                </c:pt>
                <c:pt idx="31">
                  <c:v>1131</c:v>
                </c:pt>
                <c:pt idx="32">
                  <c:v>1077</c:v>
                </c:pt>
                <c:pt idx="33">
                  <c:v>1042</c:v>
                </c:pt>
                <c:pt idx="34">
                  <c:v>1011</c:v>
                </c:pt>
                <c:pt idx="35">
                  <c:v>962</c:v>
                </c:pt>
                <c:pt idx="36">
                  <c:v>983</c:v>
                </c:pt>
                <c:pt idx="37">
                  <c:v>943</c:v>
                </c:pt>
                <c:pt idx="38">
                  <c:v>923</c:v>
                </c:pt>
                <c:pt idx="39">
                  <c:v>852</c:v>
                </c:pt>
                <c:pt idx="40">
                  <c:v>798</c:v>
                </c:pt>
                <c:pt idx="41">
                  <c:v>780</c:v>
                </c:pt>
                <c:pt idx="42">
                  <c:v>747</c:v>
                </c:pt>
                <c:pt idx="43">
                  <c:v>735</c:v>
                </c:pt>
                <c:pt idx="44">
                  <c:v>728</c:v>
                </c:pt>
                <c:pt idx="45">
                  <c:v>696</c:v>
                </c:pt>
                <c:pt idx="46">
                  <c:v>631</c:v>
                </c:pt>
                <c:pt idx="47">
                  <c:v>531</c:v>
                </c:pt>
                <c:pt idx="48">
                  <c:v>544</c:v>
                </c:pt>
                <c:pt idx="49">
                  <c:v>540</c:v>
                </c:pt>
                <c:pt idx="50">
                  <c:v>504</c:v>
                </c:pt>
                <c:pt idx="51">
                  <c:v>470</c:v>
                </c:pt>
                <c:pt idx="52">
                  <c:v>409</c:v>
                </c:pt>
                <c:pt idx="53">
                  <c:v>397</c:v>
                </c:pt>
                <c:pt idx="54">
                  <c:v>396</c:v>
                </c:pt>
                <c:pt idx="55">
                  <c:v>373</c:v>
                </c:pt>
                <c:pt idx="56">
                  <c:v>370</c:v>
                </c:pt>
                <c:pt idx="57">
                  <c:v>295</c:v>
                </c:pt>
                <c:pt idx="58">
                  <c:v>292</c:v>
                </c:pt>
                <c:pt idx="59">
                  <c:v>277</c:v>
                </c:pt>
                <c:pt idx="60">
                  <c:v>2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BCB-43BA-BF70-63C33A53A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92083040"/>
        <c:axId val="592080960"/>
      </c:lineChart>
      <c:dateAx>
        <c:axId val="71205088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12047136"/>
        <c:crosses val="autoZero"/>
        <c:auto val="1"/>
        <c:lblOffset val="100"/>
        <c:baseTimeUnit val="days"/>
      </c:dateAx>
      <c:valAx>
        <c:axId val="712047136"/>
        <c:scaling>
          <c:orientation val="minMax"/>
          <c:min val="8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100" b="0">
                    <a:solidFill>
                      <a:sysClr val="windowText" lastClr="000000"/>
                    </a:solidFill>
                  </a:rPr>
                  <a:t>Standardní lůžka</a:t>
                </a:r>
              </a:p>
            </c:rich>
          </c:tx>
          <c:layout>
            <c:manualLayout>
              <c:xMode val="edge"/>
              <c:yMode val="edge"/>
              <c:x val="3.8641338415073595E-3"/>
              <c:y val="0.32176777861776218"/>
            </c:manualLayout>
          </c:layout>
          <c:overlay val="0"/>
          <c:spPr>
            <a:noFill/>
            <a:ln w="15875">
              <a:solidFill>
                <a:schemeClr val="accent1">
                  <a:lumMod val="75000"/>
                </a:schemeClr>
              </a:solidFill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12050880"/>
        <c:crosses val="autoZero"/>
        <c:crossBetween val="between"/>
        <c:majorUnit val="700"/>
        <c:minorUnit val="200"/>
      </c:valAx>
      <c:valAx>
        <c:axId val="592080960"/>
        <c:scaling>
          <c:orientation val="minMax"/>
          <c:max val="2000"/>
          <c:min val="200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100" b="0">
                    <a:solidFill>
                      <a:sysClr val="windowText" lastClr="000000"/>
                    </a:solidFill>
                  </a:rPr>
                  <a:t>Intenzivní lůžka </a:t>
                </a:r>
              </a:p>
            </c:rich>
          </c:tx>
          <c:layout>
            <c:manualLayout>
              <c:xMode val="edge"/>
              <c:yMode val="edge"/>
              <c:x val="0.97101638157299319"/>
              <c:y val="0.31716722465630348"/>
            </c:manualLayout>
          </c:layout>
          <c:overlay val="0"/>
          <c:spPr>
            <a:noFill/>
            <a:ln w="15875">
              <a:solidFill>
                <a:schemeClr val="accent2"/>
              </a:solidFill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2083040"/>
        <c:crosses val="max"/>
        <c:crossBetween val="between"/>
        <c:majorUnit val="150"/>
        <c:minorUnit val="50"/>
      </c:valAx>
      <c:dateAx>
        <c:axId val="592083040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592080960"/>
        <c:crosses val="autoZero"/>
        <c:auto val="1"/>
        <c:lblOffset val="100"/>
        <c:baseTimeUnit val="days"/>
      </c:date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1706</cdr:x>
      <cdr:y>0.9369</cdr:y>
    </cdr:from>
    <cdr:to>
      <cdr:x>1</cdr:x>
      <cdr:y>0.98088</cdr:y>
    </cdr:to>
    <cdr:sp macro="" textlink="">
      <cdr:nvSpPr>
        <cdr:cNvPr id="2" name="TextovéPole 1"/>
        <cdr:cNvSpPr txBox="1"/>
      </cdr:nvSpPr>
      <cdr:spPr>
        <a:xfrm xmlns:a="http://schemas.openxmlformats.org/drawingml/2006/main">
          <a:off x="6296025" y="4667249"/>
          <a:ext cx="1409700" cy="2190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 anchor="ctr"/>
        <a:lstStyle xmlns:a="http://schemas.openxmlformats.org/drawingml/2006/main"/>
        <a:p xmlns:a="http://schemas.openxmlformats.org/drawingml/2006/main">
          <a:pPr algn="ctr"/>
          <a:r>
            <a:rPr lang="cs-CZ" sz="1200" b="1">
              <a:latin typeface="+mn-lt"/>
            </a:rPr>
            <a:t>Zdroj: ÚZIS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31.05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89213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71215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4519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61758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55390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84087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4.svg"/><Relationship Id="rId5" Type="http://schemas.openxmlformats.org/officeDocument/2006/relationships/image" Target="../media/image14.png"/><Relationship Id="rId4" Type="http://schemas.openxmlformats.org/officeDocument/2006/relationships/image" Target="../media/image7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7.png"/><Relationship Id="rId5" Type="http://schemas.openxmlformats.org/officeDocument/2006/relationships/image" Target="../media/image4.svg"/><Relationship Id="rId4" Type="http://schemas.openxmlformats.org/officeDocument/2006/relationships/image" Target="../media/image16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7.png"/><Relationship Id="rId5" Type="http://schemas.openxmlformats.org/officeDocument/2006/relationships/image" Target="../media/image4.svg"/><Relationship Id="rId4" Type="http://schemas.openxmlformats.org/officeDocument/2006/relationships/image" Target="../media/image16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7.png"/><Relationship Id="rId5" Type="http://schemas.openxmlformats.org/officeDocument/2006/relationships/image" Target="../media/image4.svg"/><Relationship Id="rId4" Type="http://schemas.openxmlformats.org/officeDocument/2006/relationships/image" Target="../media/image16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7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7.png"/><Relationship Id="rId5" Type="http://schemas.openxmlformats.org/officeDocument/2006/relationships/image" Target="../media/image4.svg"/><Relationship Id="rId4" Type="http://schemas.openxmlformats.org/officeDocument/2006/relationships/image" Target="../media/image16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4.svg"/><Relationship Id="rId5" Type="http://schemas.openxmlformats.org/officeDocument/2006/relationships/image" Target="../media/image14.png"/><Relationship Id="rId4" Type="http://schemas.openxmlformats.org/officeDocument/2006/relationships/image" Target="../media/image7.sv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4.svg"/><Relationship Id="rId5" Type="http://schemas.openxmlformats.org/officeDocument/2006/relationships/image" Target="../media/image20.png"/><Relationship Id="rId4" Type="http://schemas.openxmlformats.org/officeDocument/2006/relationships/image" Target="../media/image4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4.svg"/><Relationship Id="rId5" Type="http://schemas.openxmlformats.org/officeDocument/2006/relationships/image" Target="../media/image23.png"/><Relationship Id="rId4" Type="http://schemas.openxmlformats.org/officeDocument/2006/relationships/image" Target="../media/image27.sv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4.svg"/><Relationship Id="rId5" Type="http://schemas.openxmlformats.org/officeDocument/2006/relationships/image" Target="../media/image23.png"/><Relationship Id="rId4" Type="http://schemas.openxmlformats.org/officeDocument/2006/relationships/image" Target="../media/image24.sv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4.svg"/><Relationship Id="rId5" Type="http://schemas.openxmlformats.org/officeDocument/2006/relationships/image" Target="../media/image20.png"/><Relationship Id="rId4" Type="http://schemas.openxmlformats.org/officeDocument/2006/relationships/image" Target="../media/image4.sv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4.svg"/><Relationship Id="rId5" Type="http://schemas.openxmlformats.org/officeDocument/2006/relationships/image" Target="../media/image20.png"/><Relationship Id="rId4" Type="http://schemas.openxmlformats.org/officeDocument/2006/relationships/image" Target="../media/image4.sv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7.sv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7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svg"/><Relationship Id="rId5" Type="http://schemas.openxmlformats.org/officeDocument/2006/relationships/image" Target="../media/image12.png"/><Relationship Id="rId4" Type="http://schemas.openxmlformats.org/officeDocument/2006/relationships/image" Target="../media/image8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4096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31.05.2021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095704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912233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47006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40881722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397598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33507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249206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752988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171740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6C5CD43-27A1-41A8-A512-01DFDF72EF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29D6EDE5-5820-4DC6-94DA-D95C794B264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008B432-85BC-418F-A57C-253AFAA7F4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31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B0D9402-2D8E-4FB9-8161-8D00119F8B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C2AECA71-E82F-4649-8A24-6636AFE63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328422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2250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FDB54BB-D77B-411B-80A8-BB36F39E05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7774C4F0-4F0B-4C37-9EFE-6D33C4980C2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72754D4C-9569-4644-BD5E-3F00E03CFF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31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D88293E-073F-4829-9267-A51A7ABC07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8175F46-C8C3-4B73-9A7E-9E6AFB3934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1559821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D5204B5-DA6E-4CCF-8869-93A5915958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CCA1BCD-781F-4E2C-83B5-1BD52A9D9F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FDA201BD-C892-4BFD-9C7E-602DA30042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31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62DFC0C-31CE-4594-AE22-75ACF98622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C579E36E-5C1B-499E-A0E1-47EA5D2AAD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7498576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D4636ED-3604-40BB-81B1-33BFF70749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3DE2A32-280E-430F-89F0-02DD4ED6DEE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60A0DD2-E959-4E7C-B84C-848CB1BAD25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79809F5-B5D9-4823-98A8-869F2ACF03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31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D9EA721-150E-4EB0-9ECF-FDE2E20F1E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88906D8-2AB6-402F-81B1-8E63583A18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7223781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CC5F3F2-E4F6-44D2-BC8D-3748A0189B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CF487FE8-E5BA-4A5C-B0AF-5F8A194F391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6E29BA68-3FF4-469C-9253-26B2C5CECA8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88A24C8C-7565-4369-B063-AC35EDADBA2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A20FD93C-8945-45CC-8CDF-34EBF532A25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CB778519-F60E-4E11-9FF6-BD84A35462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31.05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F5C35377-4A42-4DE0-A17A-C3340CADB7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2C2D2A8A-CA4B-4E54-9860-5C67E34E72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8076896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B55641E-5C1C-4BE3-B0F0-314BD78DF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29F0F57D-01A1-43E4-98AA-935B2DB6E6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31.05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BC1C920E-6E2D-4E35-A596-F02A9BE087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CA80E791-6BEA-40B1-8749-6A82AE9EDF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720179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046D963F-18FA-4F4E-B2F8-1765691B65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31.05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E9C04A24-2205-4108-BEEB-43B063A989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5E34E1C0-8078-4D4A-A228-35D3572DF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7234502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CE69380-9A73-474C-A071-8018E65EE5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E42A117-78BD-4129-A892-24418F34994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0EA7F8D-C8DF-442B-90E1-19ED56C6BBB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E2D6E94F-FFB6-48F8-B695-EB528B1832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31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0BC1A3F-79EC-4A2F-A39B-7796828C82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CD9F211B-0AD3-43A4-B9E9-E4C6C877EC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9214815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651DA92-9D49-47F2-A05F-A578FFF8DE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AEFC7390-5A75-4225-8766-B58E6A2750A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A32CB42-591C-4FFB-AD05-9752AFF629B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8D622D7-BFF7-4AF2-8F8B-21A06ADD48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31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5F604F3D-AABB-471E-ACCC-F3A49E78CF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6DC76618-CBA7-45DD-9E79-9D8BD1610F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1817120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529D1DB-75DA-485A-AB20-C869545EA9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C099284-889E-4490-825C-0BC746C235D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4EEE6E0C-15EB-49C5-B1EA-A3370D21FB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31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D1ACFAE-E677-40F0-BA16-EA27C59C7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E3CF5FB-35BC-42C4-B710-1801BEA236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9368851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476EE0A7-C6D3-41EE-998F-37E80641B0A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8965B1C-45F0-4035-975C-1375F4ACA1F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5C10088C-D78F-4418-9E6B-832D4AC507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31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0ECDB32-A9A0-433B-AACF-943FAB23D4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A0D8614-1E95-47AF-98BF-68C5169AA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287407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3169696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12161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43012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8725770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7914146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51686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808470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5811337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5518696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31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0223205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52006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610554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5458918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8886967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225255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806693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037739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444087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0946993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1886367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rgbClr val="FFFFFF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32708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31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742907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92135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940223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19278539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6255352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36942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89608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rázek 31">
            <a:extLst>
              <a:ext uri="{FF2B5EF4-FFF2-40B4-BE49-F238E27FC236}">
                <a16:creationId xmlns:a16="http://schemas.microsoft.com/office/drawing/2014/main" id="{195036A3-2C0E-4CFE-A711-5BBB07E7B7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84000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7" name="TextovéPole 16"/>
          <p:cNvSpPr txBox="1"/>
          <p:nvPr userDrawn="1"/>
        </p:nvSpPr>
        <p:spPr>
          <a:xfrm>
            <a:off x="2788357" y="151329"/>
            <a:ext cx="848924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Národní koordinační centrum programů časného záchytu onemocnění I CZ.03.2.63/0.0/0.0/15_039/0006904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ová základna realizace screeningových programů CZ.03.2.63/0.0/0.0/15_039/0007216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88470AF-D48F-470D-AEEF-9666AC0B61BB}"/>
              </a:ext>
            </a:extLst>
          </p:cNvPr>
          <p:cNvGrpSpPr/>
          <p:nvPr userDrawn="1"/>
        </p:nvGrpSpPr>
        <p:grpSpPr>
          <a:xfrm>
            <a:off x="972000" y="99405"/>
            <a:ext cx="2394526" cy="521285"/>
            <a:chOff x="-3635511" y="3808741"/>
            <a:chExt cx="2394526" cy="521285"/>
          </a:xfrm>
        </p:grpSpPr>
        <p:pic>
          <p:nvPicPr>
            <p:cNvPr id="22" name="Obrázek 21">
              <a:extLst>
                <a:ext uri="{FF2B5EF4-FFF2-40B4-BE49-F238E27FC236}">
                  <a16:creationId xmlns:a16="http://schemas.microsoft.com/office/drawing/2014/main" id="{7C156A95-99FD-463F-A7F7-8DFAEC399B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4A16176F-E232-43A6-B00C-47517659318E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58CEEB2-107C-4552-B3EE-55408A9AA3DD}"/>
              </a:ext>
            </a:extLst>
          </p:cNvPr>
          <p:cNvSpPr txBox="1"/>
          <p:nvPr userDrawn="1"/>
        </p:nvSpPr>
        <p:spPr>
          <a:xfrm>
            <a:off x="1636734" y="6269165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9DC5116B-C626-40A9-A244-031AB6F780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  <p:pic>
        <p:nvPicPr>
          <p:cNvPr id="28" name="Grafický objekt 13">
            <a:extLst>
              <a:ext uri="{FF2B5EF4-FFF2-40B4-BE49-F238E27FC236}">
                <a16:creationId xmlns:a16="http://schemas.microsoft.com/office/drawing/2014/main" id="{C250F949-DEEF-49A4-8BDC-56E499AC99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360842" y="6300157"/>
            <a:ext cx="2859158" cy="24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589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31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6196756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3273006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1772819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724F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31.05.2021</a:t>
            </a:fld>
            <a:endParaRPr lang="cs-CZ" dirty="0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661788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7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jpeg"/><Relationship Id="rId5" Type="http://schemas.openxmlformats.org/officeDocument/2006/relationships/theme" Target="../theme/theme2.xml"/><Relationship Id="rId10" Type="http://schemas.openxmlformats.org/officeDocument/2006/relationships/image" Target="../media/image12.sv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9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4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5" Type="http://schemas.openxmlformats.org/officeDocument/2006/relationships/slideLayout" Target="../slideLayouts/slideLayout34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5" Type="http://schemas.openxmlformats.org/officeDocument/2006/relationships/slideLayout" Target="../slideLayouts/slideLayout43.xml"/><Relationship Id="rId4" Type="http://schemas.openxmlformats.org/officeDocument/2006/relationships/slideLayout" Target="../slideLayouts/slideLayout42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8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54.xml"/><Relationship Id="rId4" Type="http://schemas.openxmlformats.org/officeDocument/2006/relationships/slideLayout" Target="../slideLayouts/slideLayout5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31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  <p:sldLayoutId id="2147483680" r:id="rId5"/>
    <p:sldLayoutId id="2147483773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24000" y="764707"/>
            <a:ext cx="10944000" cy="5040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8B41E4C-7C53-49D1-A6A7-BADC85A98B77}"/>
              </a:ext>
            </a:extLst>
          </p:cNvPr>
          <p:cNvSpPr/>
          <p:nvPr userDrawn="1"/>
        </p:nvSpPr>
        <p:spPr>
          <a:xfrm>
            <a:off x="0" y="6272892"/>
            <a:ext cx="12192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0964C23-7502-44A3-900C-38F4C522DDF7}"/>
              </a:ext>
            </a:extLst>
          </p:cNvPr>
          <p:cNvGrpSpPr/>
          <p:nvPr userDrawn="1"/>
        </p:nvGrpSpPr>
        <p:grpSpPr>
          <a:xfrm>
            <a:off x="439358" y="6370574"/>
            <a:ext cx="2266057" cy="421394"/>
            <a:chOff x="-1238301" y="3808742"/>
            <a:chExt cx="2266057" cy="421394"/>
          </a:xfrm>
        </p:grpSpPr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CDBD5828-5EFB-4A41-A797-93B2FC7F04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1238301" y="3808742"/>
              <a:ext cx="612000" cy="410232"/>
            </a:xfrm>
            <a:prstGeom prst="rect">
              <a:avLst/>
            </a:prstGeom>
          </p:spPr>
        </p:pic>
        <p:sp>
          <p:nvSpPr>
            <p:cNvPr id="17" name="TextovéPole 16">
              <a:extLst>
                <a:ext uri="{FF2B5EF4-FFF2-40B4-BE49-F238E27FC236}">
                  <a16:creationId xmlns:a16="http://schemas.microsoft.com/office/drawing/2014/main" id="{772FED2F-5B03-4031-96D4-0C82449E52B0}"/>
                </a:ext>
              </a:extLst>
            </p:cNvPr>
            <p:cNvSpPr txBox="1"/>
            <p:nvPr userDrawn="1"/>
          </p:nvSpPr>
          <p:spPr>
            <a:xfrm>
              <a:off x="-685691" y="3814638"/>
              <a:ext cx="171344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7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7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8" name="Obrázek 17">
            <a:extLst>
              <a:ext uri="{FF2B5EF4-FFF2-40B4-BE49-F238E27FC236}">
                <a16:creationId xmlns:a16="http://schemas.microsoft.com/office/drawing/2014/main" id="{D3A64A3E-5CE1-4373-9488-123DE518BFF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168" y="6395690"/>
            <a:ext cx="1563511" cy="360000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813C5B4A-5521-4F74-8DBB-23F3AD51747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2432" y="6395690"/>
            <a:ext cx="545828" cy="360000"/>
          </a:xfrm>
          <a:prstGeom prst="rect">
            <a:avLst/>
          </a:prstGeom>
        </p:spPr>
      </p:pic>
      <p:pic>
        <p:nvPicPr>
          <p:cNvPr id="23" name="Grafický objekt 13">
            <a:extLst>
              <a:ext uri="{FF2B5EF4-FFF2-40B4-BE49-F238E27FC236}">
                <a16:creationId xmlns:a16="http://schemas.microsoft.com/office/drawing/2014/main" id="{4CAC0E8A-9294-4088-87D2-D875E5895AD2}"/>
              </a:ext>
            </a:extLst>
          </p:cNvPr>
          <p:cNvPicPr/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9125012" y="6472776"/>
            <a:ext cx="2627630" cy="22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38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rgbClr val="724F77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489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849657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F4B21331-3533-4DCA-902D-340C5FDCB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50E7000-6EE4-4239-B7E3-AAC3A01940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77F4975-1139-46DC-ACC7-2B69CDCAD92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9909051-5E68-48C3-980E-E7BADE00A9DF}" type="datetimeFigureOut">
              <a:rPr lang="cs-CZ" smtClean="0"/>
              <a:t>31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16383B7-2D40-461F-8979-4123BD7D17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5E63E90-A2FF-4D88-ABBB-721BE3972A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15816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559018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7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5428925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  <p:sldLayoutId id="2147483771" r:id="rId5"/>
    <p:sldLayoutId id="2147483772" r:id="rId6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31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400821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31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598363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emf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emf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chart" Target="../charts/chart6.xml"/><Relationship Id="rId5" Type="http://schemas.openxmlformats.org/officeDocument/2006/relationships/slideLayout" Target="../slideLayouts/slideLayout15.xml"/><Relationship Id="rId4" Type="http://schemas.openxmlformats.org/officeDocument/2006/relationships/tags" Target="../tags/tag10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13.xml"/><Relationship Id="rId7" Type="http://schemas.openxmlformats.org/officeDocument/2006/relationships/slideLayout" Target="../slideLayouts/slideLayout20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4" Type="http://schemas.openxmlformats.org/officeDocument/2006/relationships/tags" Target="../tags/tag14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.xml"/><Relationship Id="rId3" Type="http://schemas.openxmlformats.org/officeDocument/2006/relationships/tags" Target="../tags/tag19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slideLayout" Target="../slideLayouts/slideLayout20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chart" Target="../charts/chart8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20.xml"/><Relationship Id="rId4" Type="http://schemas.openxmlformats.org/officeDocument/2006/relationships/tags" Target="../tags/tag2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0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40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chart" Target="../charts/chart10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chart" Target="../charts/chart11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35.xml"/><Relationship Id="rId4" Type="http://schemas.openxmlformats.org/officeDocument/2006/relationships/tags" Target="../tags/tag3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chart" Target="../charts/chart12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40.xml"/><Relationship Id="rId4" Type="http://schemas.openxmlformats.org/officeDocument/2006/relationships/tags" Target="../tags/tag39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3.xml"/><Relationship Id="rId3" Type="http://schemas.openxmlformats.org/officeDocument/2006/relationships/tags" Target="../tags/tag43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5" Type="http://schemas.openxmlformats.org/officeDocument/2006/relationships/tags" Target="../tags/tag45.xml"/><Relationship Id="rId4" Type="http://schemas.openxmlformats.org/officeDocument/2006/relationships/tags" Target="../tags/tag44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5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5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49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9.xml"/><Relationship Id="rId4" Type="http://schemas.openxmlformats.org/officeDocument/2006/relationships/chart" Target="../charts/chart17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9.xml"/><Relationship Id="rId4" Type="http://schemas.openxmlformats.org/officeDocument/2006/relationships/chart" Target="../charts/char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4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slideLayout" Target="../slideLayouts/slideLayout20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828910"/>
            <a:ext cx="11905307" cy="2236911"/>
          </a:xfrm>
        </p:spPr>
        <p:txBody>
          <a:bodyPr>
            <a:normAutofit lnSpcReduction="10000"/>
          </a:bodyPr>
          <a:lstStyle/>
          <a:p>
            <a:r>
              <a:rPr lang="cs-CZ" sz="5200" b="1" dirty="0"/>
              <a:t>Zhodnocení predikcí vývoje epidemie </a:t>
            </a:r>
          </a:p>
          <a:p>
            <a:r>
              <a:rPr lang="cs-CZ" sz="5200" b="1" dirty="0"/>
              <a:t>ve vazbě na přijatá opatření </a:t>
            </a:r>
          </a:p>
          <a:p>
            <a:r>
              <a:rPr lang="cs-CZ" sz="4200" i="1" dirty="0"/>
              <a:t>- doplnění dat k 31. 5. 2021-</a:t>
            </a:r>
          </a:p>
        </p:txBody>
      </p:sp>
    </p:spTree>
    <p:extLst>
      <p:ext uri="{BB962C8B-B14F-4D97-AF65-F5344CB8AC3E}">
        <p14:creationId xmlns:p14="http://schemas.microsoft.com/office/powerpoint/2010/main" val="23007466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E4BF681D-B5C1-411C-8711-38FB247694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4405" y="1526465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 model: udržení a významné posílení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 potenciálních opatření na mobilitu od </a:t>
            </a:r>
            <a:r>
              <a:rPr kumimoji="0" lang="cs-CZ" sz="2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nce února 2021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28.1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4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4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základní reprodukce o 10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30 % od 4.1.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konce února</a:t>
            </a:r>
            <a:endParaRPr kumimoji="0" lang="cs-CZ" sz="1600" b="1" i="0" u="sng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</a:t>
            </a:r>
            <a:endParaRPr kumimoji="0" lang="en-US" sz="1600" b="1" i="0" u="sng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ce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COVNÍ DNY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47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7996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0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8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6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  <p:sp>
        <p:nvSpPr>
          <p:cNvPr id="17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2117718" y="1863035"/>
            <a:ext cx="578535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ůvodní model SEIR z</a:t>
            </a:r>
            <a:r>
              <a:rPr kumimoji="0" lang="cs-CZ" sz="16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5.3. 2021, předpokládající rychlé brždění epidemie, avšak ještě bez vlivu očkování. Reálný vývoj potvrdil ještě silnější zpomalení šíření nákazy, v květnu již v důsledku postupujícího očkování.  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Šipka doprava 1"/>
          <p:cNvSpPr/>
          <p:nvPr/>
        </p:nvSpPr>
        <p:spPr>
          <a:xfrm rot="5400000">
            <a:off x="7154304" y="3329912"/>
            <a:ext cx="772913" cy="208756"/>
          </a:xfrm>
          <a:prstGeom prst="righ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71274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27138" y="3693109"/>
            <a:ext cx="11737724" cy="2238375"/>
          </a:xfrm>
        </p:spPr>
        <p:txBody>
          <a:bodyPr>
            <a:normAutofit/>
          </a:bodyPr>
          <a:lstStyle/>
          <a:p>
            <a:r>
              <a:rPr lang="cs-CZ" sz="5000" b="1" dirty="0"/>
              <a:t>Nové modely </a:t>
            </a:r>
            <a:r>
              <a:rPr lang="cs-CZ" sz="5000" b="1" dirty="0" smtClean="0"/>
              <a:t>pro dlouhodobé predikce zahrnující </a:t>
            </a:r>
            <a:r>
              <a:rPr lang="cs-CZ" sz="5000" b="1" dirty="0"/>
              <a:t>i potenciální </a:t>
            </a:r>
            <a:r>
              <a:rPr lang="cs-CZ" sz="5000" b="1" dirty="0" smtClean="0"/>
              <a:t>dopad </a:t>
            </a:r>
            <a:r>
              <a:rPr lang="cs-CZ" sz="5000" b="1" dirty="0"/>
              <a:t>postupující vakcinace </a:t>
            </a:r>
          </a:p>
        </p:txBody>
      </p:sp>
    </p:spTree>
    <p:extLst>
      <p:ext uri="{BB962C8B-B14F-4D97-AF65-F5344CB8AC3E}">
        <p14:creationId xmlns:p14="http://schemas.microsoft.com/office/powerpoint/2010/main" val="13728498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Šipka dolů 1"/>
          <p:cNvSpPr/>
          <p:nvPr/>
        </p:nvSpPr>
        <p:spPr>
          <a:xfrm>
            <a:off x="5475831" y="1932681"/>
            <a:ext cx="977774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Obdélník 2"/>
          <p:cNvSpPr/>
          <p:nvPr/>
        </p:nvSpPr>
        <p:spPr>
          <a:xfrm>
            <a:off x="169682" y="254524"/>
            <a:ext cx="11886453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cs-CZ" sz="2400" b="1" kern="0" dirty="0"/>
              <a:t>Dlouhodobá predikce dle modelu SEIR, který byl pro epidemii COVID-19 v ČR adaptován na počátku dubna 2020. </a:t>
            </a:r>
            <a:r>
              <a:rPr lang="cs-CZ" sz="2400" i="1" kern="0" dirty="0">
                <a:solidFill>
                  <a:prstClr val="black"/>
                </a:solidFill>
              </a:rPr>
              <a:t>Predikce pro rizikový vývoj vyvolaný nárůstem rizikových kontaktů nebo zvýšením reprodukční dynamiky nákazy (virtuální efekt případného opětovného uvolnění nebo efekt šíření nakažlivějších forem viru).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185656" y="5963344"/>
            <a:ext cx="1626932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Obdélník 3"/>
          <p:cNvSpPr/>
          <p:nvPr/>
        </p:nvSpPr>
        <p:spPr>
          <a:xfrm>
            <a:off x="195887" y="2472247"/>
            <a:ext cx="11537661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cs-CZ" sz="2400" b="1" kern="0" dirty="0"/>
              <a:t>Model byl nově rozvinut a doplněn o komponentu Vakcinace (Model SEIRV) </a:t>
            </a:r>
          </a:p>
          <a:p>
            <a:pPr lvl="0" algn="ctr">
              <a:defRPr/>
            </a:pPr>
            <a:r>
              <a:rPr lang="cs-CZ" sz="2400" b="1" kern="0" dirty="0"/>
              <a:t>– tedy stav po očkování, přičemž predikce pracují s rychlým efektem vakcinace (plná ochrana již s odstupem po 1. dávce) a s pomalejším efektem vakcinace (plná ochrana po druhé dávce)</a:t>
            </a:r>
          </a:p>
        </p:txBody>
      </p:sp>
      <p:sp>
        <p:nvSpPr>
          <p:cNvPr id="6" name="Obdélník 5"/>
          <p:cNvSpPr/>
          <p:nvPr/>
        </p:nvSpPr>
        <p:spPr>
          <a:xfrm>
            <a:off x="195887" y="4306382"/>
            <a:ext cx="11606471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dirty="0"/>
              <a:t>Model uvažuje věkově specifické počty vakcinovaných</a:t>
            </a:r>
            <a:r>
              <a:rPr lang="en-US" dirty="0"/>
              <a:t> – </a:t>
            </a:r>
            <a:r>
              <a:rPr lang="en-US" dirty="0" err="1"/>
              <a:t>pozorovan</a:t>
            </a:r>
            <a:r>
              <a:rPr lang="cs-CZ" dirty="0" err="1"/>
              <a:t>ých</a:t>
            </a:r>
            <a:r>
              <a:rPr lang="cs-CZ" dirty="0"/>
              <a:t> dle ISIN a popsaná projekce počtu očkovaných pro budoucí simulace. Jedinec dosáhne ochrany před nákazou při druhé dávce (pomalý scénář) nebo při první dávce (rychlý scénář), přičemž se předpokládá i ochrana před možností přenášet infekci. Jedinci přecházejí ze stavů S a R proporčně do stavu V (očkovaní jsou i jedinci s prodělanou infekcí v minulosti), nepředpokládá se očkování jedinců aktuálně prodělávajících infekci</a:t>
            </a:r>
          </a:p>
        </p:txBody>
      </p:sp>
    </p:spTree>
    <p:extLst>
      <p:ext uri="{BB962C8B-B14F-4D97-AF65-F5344CB8AC3E}">
        <p14:creationId xmlns:p14="http://schemas.microsoft.com/office/powerpoint/2010/main" val="311226783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51570"/>
            <a:ext cx="9229366" cy="707886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héma stavového modelu SEIR</a:t>
            </a:r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</a:t>
            </a:r>
            <a:r>
              <a:rPr lang="cs-CZ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ro dlouhodobé simulace</a:t>
            </a:r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000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 </a:t>
            </a:r>
            <a:r>
              <a:rPr lang="en-US" sz="2000" b="1" u="sng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padem</a:t>
            </a:r>
            <a:r>
              <a:rPr lang="en-US" sz="2000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</a:t>
            </a:r>
            <a:r>
              <a:rPr lang="cs-CZ" sz="2000" b="1" u="sng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čkování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2B04E69E-696B-426D-92D2-95AD65B197D7}"/>
              </a:ext>
            </a:extLst>
          </p:cNvPr>
          <p:cNvSpPr/>
          <p:nvPr/>
        </p:nvSpPr>
        <p:spPr>
          <a:xfrm>
            <a:off x="1082695" y="2710392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chylní jedinci</a:t>
            </a: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D063A768-01D3-4A56-8BBA-28DED35E1CE0}"/>
              </a:ext>
            </a:extLst>
          </p:cNvPr>
          <p:cNvSpPr/>
          <p:nvPr/>
        </p:nvSpPr>
        <p:spPr>
          <a:xfrm>
            <a:off x="3824400" y="2710392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ponovaní jedinci</a:t>
            </a: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BADCA929-8F51-4A46-84F0-4EE1E7912B1C}"/>
              </a:ext>
            </a:extLst>
          </p:cNvPr>
          <p:cNvSpPr/>
          <p:nvPr/>
        </p:nvSpPr>
        <p:spPr>
          <a:xfrm>
            <a:off x="6566105" y="1689064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cs-CZ" sz="2400" b="0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í jedinci</a:t>
            </a:r>
            <a:b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íznaky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6AD42F47-49DC-4AF9-9274-1EA0FEA16506}"/>
              </a:ext>
            </a:extLst>
          </p:cNvPr>
          <p:cNvSpPr/>
          <p:nvPr/>
        </p:nvSpPr>
        <p:spPr>
          <a:xfrm>
            <a:off x="9439289" y="2701427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zolovaní jedinci</a:t>
            </a:r>
          </a:p>
        </p:txBody>
      </p:sp>
      <p:sp>
        <p:nvSpPr>
          <p:cNvPr id="22" name="Šipka: doprava 44">
            <a:extLst>
              <a:ext uri="{FF2B5EF4-FFF2-40B4-BE49-F238E27FC236}">
                <a16:creationId xmlns:a16="http://schemas.microsoft.com/office/drawing/2014/main" id="{4C13D826-2505-4EE1-82AE-F4AB7726E1B5}"/>
              </a:ext>
            </a:extLst>
          </p:cNvPr>
          <p:cNvSpPr/>
          <p:nvPr/>
        </p:nvSpPr>
        <p:spPr>
          <a:xfrm>
            <a:off x="3134865" y="3033120"/>
            <a:ext cx="54684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B14B0F29-42EE-4449-8FA0-2FFCC0E7A5D6}"/>
              </a:ext>
            </a:extLst>
          </p:cNvPr>
          <p:cNvSpPr/>
          <p:nvPr/>
        </p:nvSpPr>
        <p:spPr>
          <a:xfrm>
            <a:off x="6566105" y="3736200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cs-CZ" sz="2400" b="0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í jedinci</a:t>
            </a:r>
            <a:b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příznakoví</a:t>
            </a:r>
          </a:p>
        </p:txBody>
      </p:sp>
      <p:sp>
        <p:nvSpPr>
          <p:cNvPr id="26" name="Šipka: doprava 46">
            <a:extLst>
              <a:ext uri="{FF2B5EF4-FFF2-40B4-BE49-F238E27FC236}">
                <a16:creationId xmlns:a16="http://schemas.microsoft.com/office/drawing/2014/main" id="{D213C4CF-884A-47FE-9932-16FB105C4037}"/>
              </a:ext>
            </a:extLst>
          </p:cNvPr>
          <p:cNvSpPr/>
          <p:nvPr/>
        </p:nvSpPr>
        <p:spPr>
          <a:xfrm>
            <a:off x="5827330" y="2015627"/>
            <a:ext cx="738776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Šipka: doprava 47">
            <a:extLst>
              <a:ext uri="{FF2B5EF4-FFF2-40B4-BE49-F238E27FC236}">
                <a16:creationId xmlns:a16="http://schemas.microsoft.com/office/drawing/2014/main" id="{608B85F7-5E22-4599-8F4E-6A61635A808E}"/>
              </a:ext>
            </a:extLst>
          </p:cNvPr>
          <p:cNvSpPr/>
          <p:nvPr/>
        </p:nvSpPr>
        <p:spPr>
          <a:xfrm>
            <a:off x="5827328" y="4055094"/>
            <a:ext cx="73877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Obdélník 27">
            <a:extLst>
              <a:ext uri="{FF2B5EF4-FFF2-40B4-BE49-F238E27FC236}">
                <a16:creationId xmlns:a16="http://schemas.microsoft.com/office/drawing/2014/main" id="{A1F9FDF5-109A-473A-86F7-AE70B59EEBF0}"/>
              </a:ext>
            </a:extLst>
          </p:cNvPr>
          <p:cNvSpPr/>
          <p:nvPr/>
        </p:nvSpPr>
        <p:spPr>
          <a:xfrm>
            <a:off x="5827329" y="2118720"/>
            <a:ext cx="191929" cy="2214283"/>
          </a:xfrm>
          <a:prstGeom prst="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Šipka: doprava 49">
            <a:extLst>
              <a:ext uri="{FF2B5EF4-FFF2-40B4-BE49-F238E27FC236}">
                <a16:creationId xmlns:a16="http://schemas.microsoft.com/office/drawing/2014/main" id="{10587047-838E-48F4-9F92-8CBF3AB25FF0}"/>
              </a:ext>
            </a:extLst>
          </p:cNvPr>
          <p:cNvSpPr/>
          <p:nvPr/>
        </p:nvSpPr>
        <p:spPr>
          <a:xfrm>
            <a:off x="8610864" y="2990538"/>
            <a:ext cx="73877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Obdélník 30">
            <a:extLst>
              <a:ext uri="{FF2B5EF4-FFF2-40B4-BE49-F238E27FC236}">
                <a16:creationId xmlns:a16="http://schemas.microsoft.com/office/drawing/2014/main" id="{054974A4-DA60-4490-9AAD-3973AAACF2C2}"/>
              </a:ext>
            </a:extLst>
          </p:cNvPr>
          <p:cNvSpPr/>
          <p:nvPr/>
        </p:nvSpPr>
        <p:spPr>
          <a:xfrm>
            <a:off x="8610865" y="2118720"/>
            <a:ext cx="191929" cy="2214283"/>
          </a:xfrm>
          <a:prstGeom prst="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FE7E001D-0B75-40E0-AAE6-7132D90F7EA2}"/>
              </a:ext>
            </a:extLst>
          </p:cNvPr>
          <p:cNvSpPr txBox="1"/>
          <p:nvPr/>
        </p:nvSpPr>
        <p:spPr>
          <a:xfrm>
            <a:off x="729454" y="1430123"/>
            <a:ext cx="293513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ost onemocnění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etnost kontaktů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infekčních jedinců 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opulac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9F44768C-5FDA-4214-A558-285F9A9BD9CE}"/>
              </a:ext>
            </a:extLst>
          </p:cNvPr>
          <p:cNvSpPr txBox="1"/>
          <p:nvPr/>
        </p:nvSpPr>
        <p:spPr>
          <a:xfrm>
            <a:off x="3487540" y="1663657"/>
            <a:ext cx="293513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élka latentního období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po nákaze, před infekčností)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F915E3A6-2C83-4C2A-9CE0-5284C9CD8F0D}"/>
              </a:ext>
            </a:extLst>
          </p:cNvPr>
          <p:cNvSpPr txBox="1"/>
          <p:nvPr/>
        </p:nvSpPr>
        <p:spPr>
          <a:xfrm>
            <a:off x="6326350" y="2755231"/>
            <a:ext cx="23248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bezpříznakových jedinců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EC9FA024-5E59-4474-9F8F-D201213190EE}"/>
              </a:ext>
            </a:extLst>
          </p:cNvPr>
          <p:cNvSpPr txBox="1"/>
          <p:nvPr/>
        </p:nvSpPr>
        <p:spPr>
          <a:xfrm>
            <a:off x="8762459" y="1707122"/>
            <a:ext cx="23248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élka infekčního období/rychlost izolace</a:t>
            </a:r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03E6A01B-C785-4E5E-A264-0E817822A778}"/>
              </a:ext>
            </a:extLst>
          </p:cNvPr>
          <p:cNvSpPr txBox="1"/>
          <p:nvPr/>
        </p:nvSpPr>
        <p:spPr>
          <a:xfrm>
            <a:off x="6179868" y="932247"/>
            <a:ext cx="50740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POČÍTÁNÍ MEZI PŘÍPADY (JEN SYMPTOMATIČTÍ)</a:t>
            </a:r>
          </a:p>
        </p:txBody>
      </p:sp>
      <p:sp>
        <p:nvSpPr>
          <p:cNvPr id="38" name="Šipka: dolů 56">
            <a:extLst>
              <a:ext uri="{FF2B5EF4-FFF2-40B4-BE49-F238E27FC236}">
                <a16:creationId xmlns:a16="http://schemas.microsoft.com/office/drawing/2014/main" id="{782C6E6F-542D-452F-93BB-94B4C05288A8}"/>
              </a:ext>
            </a:extLst>
          </p:cNvPr>
          <p:cNvSpPr/>
          <p:nvPr/>
        </p:nvSpPr>
        <p:spPr>
          <a:xfrm>
            <a:off x="8509197" y="1339569"/>
            <a:ext cx="415367" cy="367553"/>
          </a:xfrm>
          <a:prstGeom prst="downArrow">
            <a:avLst/>
          </a:prstGeom>
          <a:solidFill>
            <a:srgbClr val="D3114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Obdélník 38">
            <a:extLst>
              <a:ext uri="{FF2B5EF4-FFF2-40B4-BE49-F238E27FC236}">
                <a16:creationId xmlns:a16="http://schemas.microsoft.com/office/drawing/2014/main" id="{DDCAC9A8-B998-4990-8433-32D07C5EAEB7}"/>
              </a:ext>
            </a:extLst>
          </p:cNvPr>
          <p:cNvSpPr/>
          <p:nvPr/>
        </p:nvSpPr>
        <p:spPr>
          <a:xfrm>
            <a:off x="9439289" y="4938026"/>
            <a:ext cx="1909483" cy="1013010"/>
          </a:xfrm>
          <a:prstGeom prst="rect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čkovaní jedinci</a:t>
            </a:r>
          </a:p>
        </p:txBody>
      </p:sp>
      <p:sp>
        <p:nvSpPr>
          <p:cNvPr id="40" name="Šipka: doprava 20">
            <a:extLst>
              <a:ext uri="{FF2B5EF4-FFF2-40B4-BE49-F238E27FC236}">
                <a16:creationId xmlns:a16="http://schemas.microsoft.com/office/drawing/2014/main" id="{A41BEF73-7A63-410D-95FD-7BD1E2D4B038}"/>
              </a:ext>
            </a:extLst>
          </p:cNvPr>
          <p:cNvSpPr/>
          <p:nvPr/>
        </p:nvSpPr>
        <p:spPr>
          <a:xfrm>
            <a:off x="1804832" y="5210447"/>
            <a:ext cx="7525177" cy="367553"/>
          </a:xfrm>
          <a:prstGeom prst="rightArrow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Šipka: doprava 21">
            <a:extLst>
              <a:ext uri="{FF2B5EF4-FFF2-40B4-BE49-F238E27FC236}">
                <a16:creationId xmlns:a16="http://schemas.microsoft.com/office/drawing/2014/main" id="{31B8BC44-7A01-4824-9AED-DF040E9F9BA2}"/>
              </a:ext>
            </a:extLst>
          </p:cNvPr>
          <p:cNvSpPr/>
          <p:nvPr/>
        </p:nvSpPr>
        <p:spPr>
          <a:xfrm rot="5400000">
            <a:off x="9887524" y="4124044"/>
            <a:ext cx="1013009" cy="367553"/>
          </a:xfrm>
          <a:prstGeom prst="rightArrow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Obdélník 41">
            <a:extLst>
              <a:ext uri="{FF2B5EF4-FFF2-40B4-BE49-F238E27FC236}">
                <a16:creationId xmlns:a16="http://schemas.microsoft.com/office/drawing/2014/main" id="{74FC45F5-50A9-43F3-8CE1-BEE500BD193E}"/>
              </a:ext>
            </a:extLst>
          </p:cNvPr>
          <p:cNvSpPr/>
          <p:nvPr/>
        </p:nvSpPr>
        <p:spPr>
          <a:xfrm>
            <a:off x="1800678" y="3801316"/>
            <a:ext cx="191929" cy="1672140"/>
          </a:xfrm>
          <a:prstGeom prst="rect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59AD60A5-4AFD-463C-8D2A-104E5B3F5610}"/>
              </a:ext>
            </a:extLst>
          </p:cNvPr>
          <p:cNvSpPr txBox="1"/>
          <p:nvPr/>
        </p:nvSpPr>
        <p:spPr>
          <a:xfrm>
            <a:off x="2070275" y="4846884"/>
            <a:ext cx="29351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očkovaných jedinců</a:t>
            </a:r>
          </a:p>
        </p:txBody>
      </p:sp>
      <p:sp>
        <p:nvSpPr>
          <p:cNvPr id="44" name="Obdélník 43"/>
          <p:cNvSpPr/>
          <p:nvPr/>
        </p:nvSpPr>
        <p:spPr>
          <a:xfrm>
            <a:off x="246823" y="5965498"/>
            <a:ext cx="1153766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cs-CZ" sz="2400" b="1" kern="0" dirty="0"/>
              <a:t>Aplikace nového modelu s vakcinací vysvětluje rychlejší zpomalování epidemie</a:t>
            </a:r>
          </a:p>
        </p:txBody>
      </p:sp>
      <p:sp>
        <p:nvSpPr>
          <p:cNvPr id="45" name="Šipka dolů 44"/>
          <p:cNvSpPr/>
          <p:nvPr/>
        </p:nvSpPr>
        <p:spPr>
          <a:xfrm>
            <a:off x="5109827" y="6434542"/>
            <a:ext cx="1626932" cy="28630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14813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Šipka dolů 1"/>
          <p:cNvSpPr/>
          <p:nvPr/>
        </p:nvSpPr>
        <p:spPr>
          <a:xfrm>
            <a:off x="5354594" y="1364949"/>
            <a:ext cx="1220245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Obdélník 2"/>
          <p:cNvSpPr/>
          <p:nvPr/>
        </p:nvSpPr>
        <p:spPr>
          <a:xfrm>
            <a:off x="325033" y="273574"/>
            <a:ext cx="1127936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cs-CZ" sz="2400" b="1" kern="0" dirty="0"/>
              <a:t>Stávající vývoj epidemie je velmi pozitivní, populační zátěž významně klesá a projevuje se již postupující vakcinace rizikových skupin obyvatel </a:t>
            </a:r>
            <a:endParaRPr lang="cs-CZ" sz="2400" i="1" kern="0" dirty="0">
              <a:solidFill>
                <a:prstClr val="black"/>
              </a:solidFill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151250" y="4595670"/>
            <a:ext cx="1626932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Obdélník 3"/>
          <p:cNvSpPr/>
          <p:nvPr/>
        </p:nvSpPr>
        <p:spPr>
          <a:xfrm>
            <a:off x="390522" y="2284098"/>
            <a:ext cx="11148388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cs-CZ" sz="2800" b="1" kern="0" dirty="0">
                <a:solidFill>
                  <a:srgbClr val="3333CC"/>
                </a:solidFill>
              </a:rPr>
              <a:t>Současný vývoj odpovídá velmi optimistickému scénáři, který předpokládal rychlé brždění epidemie odpovídající reprodukčnímu číslu cca 0,7 - 0,8, posílenému o rychlý efekt postupující vakcinace (imunita dosažená již po 1. dávce vakcíny) </a:t>
            </a:r>
          </a:p>
        </p:txBody>
      </p:sp>
    </p:spTree>
    <p:extLst>
      <p:ext uri="{BB962C8B-B14F-4D97-AF65-F5344CB8AC3E}">
        <p14:creationId xmlns:p14="http://schemas.microsoft.com/office/powerpoint/2010/main" val="5009578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4E7D0320-3AC3-4E3F-AB09-9DBAA2D328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4772" y="1528819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V model: zachování dopadu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</a:t>
            </a:r>
            <a:r>
              <a:rPr kumimoji="0" lang="en-US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jevu</a:t>
            </a:r>
            <a:r>
              <a:rPr kumimoji="0" lang="en-US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 dubnu/květnu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hrnutí vlivu očkování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2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2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8422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IRV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53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8269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4234630030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05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7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6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0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1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3006972F-DFB3-4559-816B-3ADA61240E58}"/>
              </a:ext>
            </a:extLst>
          </p:cNvPr>
          <p:cNvSpPr txBox="1"/>
          <p:nvPr/>
        </p:nvSpPr>
        <p:spPr>
          <a:xfrm>
            <a:off x="8495254" y="5361018"/>
            <a:ext cx="3501957" cy="64633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CHLÝ SCÉNÁŘ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unita od data první dávky</a:t>
            </a:r>
          </a:p>
        </p:txBody>
      </p:sp>
    </p:spTree>
    <p:extLst>
      <p:ext uri="{BB962C8B-B14F-4D97-AF65-F5344CB8AC3E}">
        <p14:creationId xmlns:p14="http://schemas.microsoft.com/office/powerpoint/2010/main" val="130566056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C804BFAF-1D69-4A41-A790-880D234576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3329" y="1530553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V model: zachování dopadu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</a:t>
            </a:r>
            <a:r>
              <a:rPr kumimoji="0" lang="en-US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jevu</a:t>
            </a:r>
            <a:r>
              <a:rPr kumimoji="0" lang="en-US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 dubnu/květnu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hrnutí vlivu očkování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2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2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COVNÍ DNY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IRV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53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8269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4234630030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05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7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6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0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1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3006972F-DFB3-4559-816B-3ADA61240E58}"/>
              </a:ext>
            </a:extLst>
          </p:cNvPr>
          <p:cNvSpPr txBox="1"/>
          <p:nvPr/>
        </p:nvSpPr>
        <p:spPr>
          <a:xfrm>
            <a:off x="8495254" y="5361018"/>
            <a:ext cx="3501957" cy="64633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CHLÝ SCÉNÁŘ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unita od data první dávky</a:t>
            </a:r>
          </a:p>
        </p:txBody>
      </p:sp>
    </p:spTree>
    <p:extLst>
      <p:ext uri="{BB962C8B-B14F-4D97-AF65-F5344CB8AC3E}">
        <p14:creationId xmlns:p14="http://schemas.microsoft.com/office/powerpoint/2010/main" val="10391696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4">
            <a:extLst>
              <a:ext uri="{FF2B5EF4-FFF2-40B4-BE49-F238E27FC236}">
                <a16:creationId xmlns:a16="http://schemas.microsoft.com/office/drawing/2014/main" id="{775EBAA5-47D8-474F-ACEF-4B2ADC5364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4741" y="1531556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V model: potenciální </a:t>
            </a:r>
            <a:r>
              <a:rPr kumimoji="0" lang="en-US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</a:t>
            </a:r>
            <a:r>
              <a:rPr kumimoji="0" lang="en-US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 květnu</a:t>
            </a:r>
            <a:b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hrnutí vlivu očkování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094284"/>
            <a:ext cx="3811184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2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2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0.5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pracovních, školních a jiných kontaktů na 4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7.5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pracovních, školních a jiných kontaktů na 6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8422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IRV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53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8269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4234630030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05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7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6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1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7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3006972F-DFB3-4559-816B-3ADA61240E58}"/>
              </a:ext>
            </a:extLst>
          </p:cNvPr>
          <p:cNvSpPr txBox="1"/>
          <p:nvPr/>
        </p:nvSpPr>
        <p:spPr>
          <a:xfrm>
            <a:off x="8495254" y="5870196"/>
            <a:ext cx="3501957" cy="64633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CHLÝ SCÉNÁŘ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unita od data první dávky</a:t>
            </a:r>
          </a:p>
        </p:txBody>
      </p:sp>
      <p:sp>
        <p:nvSpPr>
          <p:cNvPr id="3" name="TextovéPole 2"/>
          <p:cNvSpPr txBox="1"/>
          <p:nvPr/>
        </p:nvSpPr>
        <p:spPr>
          <a:xfrm>
            <a:off x="3020001" y="2031761"/>
            <a:ext cx="501506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b="1" dirty="0">
                <a:solidFill>
                  <a:srgbClr val="C00000"/>
                </a:solidFill>
              </a:rPr>
              <a:t>Modelový scénář pro rizikový vývoj při negativním dopadu rozvolňování. Aktuální data tomuto rizikovému vývoji neodpovídají, epidemie stále brzdí velmi rychle. </a:t>
            </a:r>
          </a:p>
        </p:txBody>
      </p:sp>
      <p:cxnSp>
        <p:nvCxnSpPr>
          <p:cNvPr id="6" name="Přímá spojnice se šipkou 5"/>
          <p:cNvCxnSpPr/>
          <p:nvPr/>
        </p:nvCxnSpPr>
        <p:spPr>
          <a:xfrm>
            <a:off x="7374546" y="2770425"/>
            <a:ext cx="280019" cy="1345848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Přímá spojnice se šipkou 16"/>
          <p:cNvCxnSpPr/>
          <p:nvPr/>
        </p:nvCxnSpPr>
        <p:spPr>
          <a:xfrm flipH="1">
            <a:off x="7160298" y="2770425"/>
            <a:ext cx="48763" cy="1585011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38939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>
            <a:extLst>
              <a:ext uri="{FF2B5EF4-FFF2-40B4-BE49-F238E27FC236}">
                <a16:creationId xmlns:a16="http://schemas.microsoft.com/office/drawing/2014/main" id="{56C55E7E-E222-49A9-925E-FB2ECC838A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0840" y="1528819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V model: </a:t>
            </a:r>
            <a:r>
              <a:rPr lang="cs-CZ" sz="2200" b="1" u="sng" dirty="0">
                <a:solidFill>
                  <a:prstClr val="white"/>
                </a:solidFill>
              </a:rPr>
              <a:t>potenciální </a:t>
            </a:r>
            <a:r>
              <a:rPr kumimoji="0" lang="en-US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</a:t>
            </a:r>
            <a:r>
              <a:rPr kumimoji="0" lang="en-US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 květnu</a:t>
            </a:r>
            <a:b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hrnutí vlivu očkování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693194" y="1599093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094284"/>
            <a:ext cx="3811184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2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2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0.5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pracovních, školních a jiných kontaktů na 4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7.5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pracovních, školních a jiných kontaktů na 6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8422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COVNÍ DNY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IRV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53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8269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4234630030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05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7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6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1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7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3006972F-DFB3-4559-816B-3ADA61240E58}"/>
              </a:ext>
            </a:extLst>
          </p:cNvPr>
          <p:cNvSpPr txBox="1"/>
          <p:nvPr/>
        </p:nvSpPr>
        <p:spPr>
          <a:xfrm>
            <a:off x="8495254" y="5870196"/>
            <a:ext cx="3501957" cy="64633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CHLÝ SCÉNÁŘ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unita od data první dávky</a:t>
            </a:r>
          </a:p>
        </p:txBody>
      </p:sp>
      <p:sp>
        <p:nvSpPr>
          <p:cNvPr id="17" name="TextovéPole 16"/>
          <p:cNvSpPr txBox="1"/>
          <p:nvPr/>
        </p:nvSpPr>
        <p:spPr>
          <a:xfrm>
            <a:off x="3020001" y="1805517"/>
            <a:ext cx="501506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b="1" dirty="0">
                <a:solidFill>
                  <a:srgbClr val="C00000"/>
                </a:solidFill>
              </a:rPr>
              <a:t>Modelový scénář pro rizikový vývoj při negativním dopadu rozvolňování. Aktuální data tomuto rizikovému vývoji neodpovídají, epidemie stále brzdí velmi rychle. </a:t>
            </a:r>
          </a:p>
        </p:txBody>
      </p:sp>
      <p:cxnSp>
        <p:nvCxnSpPr>
          <p:cNvPr id="18" name="Přímá spojnice se šipkou 17"/>
          <p:cNvCxnSpPr/>
          <p:nvPr/>
        </p:nvCxnSpPr>
        <p:spPr>
          <a:xfrm>
            <a:off x="7374546" y="2592862"/>
            <a:ext cx="280019" cy="1345848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Přímá spojnice se šipkou 18"/>
          <p:cNvCxnSpPr/>
          <p:nvPr/>
        </p:nvCxnSpPr>
        <p:spPr>
          <a:xfrm flipH="1">
            <a:off x="7160298" y="2592862"/>
            <a:ext cx="48763" cy="1585011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134070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/>
        </p:nvSpPr>
        <p:spPr>
          <a:xfrm>
            <a:off x="28566" y="3720201"/>
            <a:ext cx="1173783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álná data a vývoj epidemie dosud potvrzují, že rozvolnění v dubnu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po 10.5</a:t>
            </a: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 na vývoji epidemie neprojevilo, situace začíná být stabilní. </a:t>
            </a: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ůsledku postupující vakcinace </a:t>
            </a:r>
            <a:r>
              <a:rPr kumimoji="0" lang="cs-CZ" sz="30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z</a:t>
            </a:r>
            <a:r>
              <a:rPr lang="cs-CZ" sz="3000" b="1" dirty="0" smtClean="0">
                <a:solidFill>
                  <a:srgbClr val="0000FF"/>
                </a:solidFill>
                <a:latin typeface="Calibri" panose="020F0502020204030204"/>
              </a:rPr>
              <a:t>e </a:t>
            </a:r>
            <a:r>
              <a:rPr kumimoji="0" lang="cs-CZ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čekávat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že 7denní počet nově potvrzených případů bude dále významně klesat i v průběhu května. 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5236288" y="1345020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257889" y="152401"/>
            <a:ext cx="11508509" cy="30561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ouhodobé</a:t>
            </a:r>
            <a:r>
              <a:rPr kumimoji="0" lang="cs-CZ" sz="3400" b="1" i="0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edikce založené na modelu SEIR(V) byly promítnuty do tří scénářů možného vývoje</a:t>
            </a:r>
            <a:endParaRPr kumimoji="0" lang="cs-CZ" sz="3400" b="1" i="0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34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. </a:t>
            </a:r>
            <a:r>
              <a:rPr kumimoji="0" lang="cs-CZ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malé brždění</a:t>
            </a:r>
            <a:r>
              <a:rPr kumimoji="0" lang="cs-CZ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e, bez vlivu vakcinace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. </a:t>
            </a:r>
            <a:r>
              <a:rPr kumimoji="0" lang="cs-CZ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chlé brždění epidemie v důsledku efektu přijatých opatření, bez vlivu vakcinace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a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cs-CZ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ňování v dubnu bez dopadu na růst epidemie a vliv postupující vakcinace</a:t>
            </a:r>
            <a:endParaRPr kumimoji="0" lang="cs-CZ" sz="24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Šipka dolů 9"/>
          <p:cNvSpPr/>
          <p:nvPr/>
        </p:nvSpPr>
        <p:spPr>
          <a:xfrm>
            <a:off x="5150563" y="6170795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570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843938"/>
            <a:ext cx="12048654" cy="2140532"/>
          </a:xfrm>
        </p:spPr>
        <p:txBody>
          <a:bodyPr>
            <a:normAutofit lnSpcReduction="10000"/>
          </a:bodyPr>
          <a:lstStyle/>
          <a:p>
            <a:r>
              <a:rPr lang="cs-CZ" sz="5200" b="1" dirty="0"/>
              <a:t>Vývoj epidemie v populačních datech</a:t>
            </a:r>
          </a:p>
          <a:p>
            <a:r>
              <a:rPr lang="cs-CZ" sz="4000" i="1" dirty="0"/>
              <a:t>Modely doplněné o reálné počty zachycených případů</a:t>
            </a:r>
          </a:p>
          <a:p>
            <a:r>
              <a:rPr lang="cs-CZ" sz="4000" i="1" dirty="0"/>
              <a:t>(uzavřené hodnocení do 30. 5. 2021 včetně)</a:t>
            </a:r>
          </a:p>
        </p:txBody>
      </p:sp>
    </p:spTree>
    <p:extLst>
      <p:ext uri="{BB962C8B-B14F-4D97-AF65-F5344CB8AC3E}">
        <p14:creationId xmlns:p14="http://schemas.microsoft.com/office/powerpoint/2010/main" val="222973982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FFFEC489-9795-4E1E-9719-513139DAB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Scénáře pro dlouhodobé simulace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CEDB038B-E842-4D28-86E5-FAD860403C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3186997"/>
          </a:xfrm>
        </p:spPr>
        <p:txBody>
          <a:bodyPr>
            <a:normAutofit fontScale="92500" lnSpcReduction="10000"/>
          </a:bodyPr>
          <a:lstStyle/>
          <a:p>
            <a:r>
              <a:rPr lang="cs-CZ" sz="2400" b="1" dirty="0"/>
              <a:t>Scénáře dlouhodobých simulací z 5. 3. 2021</a:t>
            </a:r>
          </a:p>
          <a:p>
            <a:endParaRPr lang="cs-CZ" sz="2400" b="1" dirty="0"/>
          </a:p>
          <a:p>
            <a:endParaRPr lang="cs-CZ" sz="2400" b="1" dirty="0"/>
          </a:p>
          <a:p>
            <a:pPr lvl="1"/>
            <a:r>
              <a:rPr lang="cs-CZ" sz="2000" b="1" dirty="0"/>
              <a:t>Scénář I: </a:t>
            </a:r>
            <a:r>
              <a:rPr lang="cs-CZ" sz="2000" dirty="0"/>
              <a:t>Efekt opatření částečně od 19. 2. a zejména od 1. 3.: snížení pracovních kontaktů na 30 %, školní kontakty na 0 %, snížení jiných kontaktů na 30 %</a:t>
            </a:r>
          </a:p>
          <a:p>
            <a:pPr lvl="1"/>
            <a:endParaRPr lang="cs-CZ" sz="2000" dirty="0"/>
          </a:p>
          <a:p>
            <a:pPr lvl="1"/>
            <a:endParaRPr lang="cs-CZ" sz="2000" dirty="0"/>
          </a:p>
          <a:p>
            <a:pPr lvl="1"/>
            <a:r>
              <a:rPr lang="cs-CZ" sz="2000" b="1" dirty="0"/>
              <a:t>Scénář II: </a:t>
            </a:r>
            <a:r>
              <a:rPr lang="cs-CZ" sz="2000" dirty="0"/>
              <a:t>Silný efekt opatření částečně od 19. 2. a zejména od 1.3.: snížení pracovních kontaktů na 20 %, školní kontakty na 0 %, snížení jiných kontaktů na 20 %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B465D225-9F63-4054-8EF6-ACEB098FE1B3}"/>
              </a:ext>
            </a:extLst>
          </p:cNvPr>
          <p:cNvSpPr txBox="1"/>
          <p:nvPr/>
        </p:nvSpPr>
        <p:spPr>
          <a:xfrm>
            <a:off x="1184190" y="3361822"/>
            <a:ext cx="6642503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I: významné posílení opatření a rychlé zpomalení epidemie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B21BAD46-7FFA-4099-88CF-9B8E5DBF5FEB}"/>
              </a:ext>
            </a:extLst>
          </p:cNvPr>
          <p:cNvSpPr txBox="1"/>
          <p:nvPr/>
        </p:nvSpPr>
        <p:spPr>
          <a:xfrm>
            <a:off x="1184191" y="2160610"/>
            <a:ext cx="6642503" cy="369332"/>
          </a:xfrm>
          <a:prstGeom prst="rect">
            <a:avLst/>
          </a:prstGeom>
          <a:solidFill>
            <a:srgbClr val="305983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: pouze částečné udržení opatření a pomalé zpomalování </a:t>
            </a:r>
          </a:p>
        </p:txBody>
      </p:sp>
    </p:spTree>
    <p:extLst>
      <p:ext uri="{BB962C8B-B14F-4D97-AF65-F5344CB8AC3E}">
        <p14:creationId xmlns:p14="http://schemas.microsoft.com/office/powerpoint/2010/main" val="37596047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2400" dirty="0"/>
              <a:t>Scénáře dlouhodobých simulací z 5. 3. 2021</a:t>
            </a:r>
            <a:endParaRPr lang="cs-CZ" sz="2400" dirty="0">
              <a:latin typeface="+mj-lt"/>
            </a:endParaRPr>
          </a:p>
        </p:txBody>
      </p: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D4CEFD9C-3B06-416C-AB13-5153476AA83F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sp>
        <p:nvSpPr>
          <p:cNvPr id="55" name="TextovéPole 54">
            <a:extLst>
              <a:ext uri="{FF2B5EF4-FFF2-40B4-BE49-F238E27FC236}">
                <a16:creationId xmlns:a16="http://schemas.microsoft.com/office/drawing/2014/main" id="{B465D225-9F63-4054-8EF6-ACEB098FE1B3}"/>
              </a:ext>
            </a:extLst>
          </p:cNvPr>
          <p:cNvSpPr txBox="1"/>
          <p:nvPr/>
        </p:nvSpPr>
        <p:spPr>
          <a:xfrm>
            <a:off x="3174357" y="1649544"/>
            <a:ext cx="6642503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I: významné posílení opatření</a:t>
            </a:r>
            <a:r>
              <a:rPr kumimoji="0" lang="cs-CZ" sz="1800" b="1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 rychlé zpomalení epidemie 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56" name="Přímá spojnice se šipkou 55">
            <a:extLst>
              <a:ext uri="{FF2B5EF4-FFF2-40B4-BE49-F238E27FC236}">
                <a16:creationId xmlns:a16="http://schemas.microsoft.com/office/drawing/2014/main" id="{50DE1626-F284-4D84-BDAB-EF119447AE2F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Přímá spojnice se šipkou 56">
            <a:extLst>
              <a:ext uri="{FF2B5EF4-FFF2-40B4-BE49-F238E27FC236}">
                <a16:creationId xmlns:a16="http://schemas.microsoft.com/office/drawing/2014/main" id="{2BDC46C6-5DD5-4213-8D28-87E6DBE1AB78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8" name="Chart 4">
            <a:extLst>
              <a:ext uri="{FF2B5EF4-FFF2-40B4-BE49-F238E27FC236}">
                <a16:creationId xmlns:a16="http://schemas.microsoft.com/office/drawing/2014/main" id="{6AF8037E-9CEB-4EF9-871D-03B93915FF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84873046"/>
              </p:ext>
            </p:extLst>
          </p:nvPr>
        </p:nvGraphicFramePr>
        <p:xfrm>
          <a:off x="556549" y="280823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D617B260-2959-49F6-A96B-910DA678C668}"/>
              </a:ext>
            </a:extLst>
          </p:cNvPr>
          <p:cNvSpPr txBox="1"/>
          <p:nvPr/>
        </p:nvSpPr>
        <p:spPr>
          <a:xfrm>
            <a:off x="2176423" y="2706566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cxnSp>
        <p:nvCxnSpPr>
          <p:cNvPr id="61" name="Přímá spojnice 60">
            <a:extLst>
              <a:ext uri="{FF2B5EF4-FFF2-40B4-BE49-F238E27FC236}">
                <a16:creationId xmlns:a16="http://schemas.microsoft.com/office/drawing/2014/main" id="{A1249C80-BFB2-40C2-AF2B-7672FDA1BE4E}"/>
              </a:ext>
            </a:extLst>
          </p:cNvPr>
          <p:cNvCxnSpPr>
            <a:cxnSpLocks/>
          </p:cNvCxnSpPr>
          <p:nvPr/>
        </p:nvCxnSpPr>
        <p:spPr>
          <a:xfrm>
            <a:off x="1872534" y="2858843"/>
            <a:ext cx="237744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Přímá spojnice 61">
            <a:extLst>
              <a:ext uri="{FF2B5EF4-FFF2-40B4-BE49-F238E27FC236}">
                <a16:creationId xmlns:a16="http://schemas.microsoft.com/office/drawing/2014/main" id="{80D93A6D-177B-4185-B647-B8DF07634E10}"/>
              </a:ext>
            </a:extLst>
          </p:cNvPr>
          <p:cNvCxnSpPr>
            <a:cxnSpLocks/>
          </p:cNvCxnSpPr>
          <p:nvPr/>
        </p:nvCxnSpPr>
        <p:spPr>
          <a:xfrm>
            <a:off x="1872534" y="3159974"/>
            <a:ext cx="237744" cy="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618D1943-12D3-4993-BD5F-AF6C65AB8F85}"/>
              </a:ext>
            </a:extLst>
          </p:cNvPr>
          <p:cNvSpPr txBox="1"/>
          <p:nvPr/>
        </p:nvSpPr>
        <p:spPr>
          <a:xfrm>
            <a:off x="2168566" y="2977767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64" name="Obdélník 63">
            <a:extLst>
              <a:ext uri="{FF2B5EF4-FFF2-40B4-BE49-F238E27FC236}">
                <a16:creationId xmlns:a16="http://schemas.microsoft.com/office/drawing/2014/main" id="{FF9D4894-4AE1-4907-A2C1-EBC6B8B4E502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  <a:endParaRPr lang="cs-CZ" sz="10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65" name="TextovéPole 64">
            <a:extLst>
              <a:ext uri="{FF2B5EF4-FFF2-40B4-BE49-F238E27FC236}">
                <a16:creationId xmlns:a16="http://schemas.microsoft.com/office/drawing/2014/main" id="{B21BAD46-7FFA-4099-88CF-9B8E5DBF5FEB}"/>
              </a:ext>
            </a:extLst>
          </p:cNvPr>
          <p:cNvSpPr txBox="1"/>
          <p:nvPr/>
        </p:nvSpPr>
        <p:spPr>
          <a:xfrm>
            <a:off x="3174357" y="878656"/>
            <a:ext cx="6642503" cy="369332"/>
          </a:xfrm>
          <a:prstGeom prst="rect">
            <a:avLst/>
          </a:prstGeom>
          <a:solidFill>
            <a:srgbClr val="305983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I: pouze částečné udržení opatření a pomalé zpomalování </a:t>
            </a:r>
          </a:p>
        </p:txBody>
      </p:sp>
      <p:sp>
        <p:nvSpPr>
          <p:cNvPr id="66" name="Obdélník 65">
            <a:extLst>
              <a:ext uri="{FF2B5EF4-FFF2-40B4-BE49-F238E27FC236}">
                <a16:creationId xmlns:a16="http://schemas.microsoft.com/office/drawing/2014/main" id="{36CCB663-0E68-4640-BF33-FA593EA32061}"/>
              </a:ext>
            </a:extLst>
          </p:cNvPr>
          <p:cNvSpPr/>
          <p:nvPr/>
        </p:nvSpPr>
        <p:spPr>
          <a:xfrm>
            <a:off x="1895177" y="2279223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TextovéPole 66">
            <a:extLst>
              <a:ext uri="{FF2B5EF4-FFF2-40B4-BE49-F238E27FC236}">
                <a16:creationId xmlns:a16="http://schemas.microsoft.com/office/drawing/2014/main" id="{029FB996-37A5-40D2-AF91-BDC4A30C0984}"/>
              </a:ext>
            </a:extLst>
          </p:cNvPr>
          <p:cNvSpPr txBox="1"/>
          <p:nvPr/>
        </p:nvSpPr>
        <p:spPr>
          <a:xfrm>
            <a:off x="2192357" y="2243455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 z IS IN 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30. 5. 2021)</a:t>
            </a:r>
            <a:endParaRPr lang="cs-CZ" sz="11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8" name="Obdélník 67">
            <a:extLst>
              <a:ext uri="{FF2B5EF4-FFF2-40B4-BE49-F238E27FC236}">
                <a16:creationId xmlns:a16="http://schemas.microsoft.com/office/drawing/2014/main" id="{E6597242-CEB1-44FD-BFBE-11D4203E109C}"/>
              </a:ext>
            </a:extLst>
          </p:cNvPr>
          <p:cNvSpPr/>
          <p:nvPr/>
        </p:nvSpPr>
        <p:spPr>
          <a:xfrm>
            <a:off x="2192357" y="3274017"/>
            <a:ext cx="196399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B/C ze dne 5. 3. 2021)</a:t>
            </a:r>
          </a:p>
        </p:txBody>
      </p:sp>
      <p:sp>
        <p:nvSpPr>
          <p:cNvPr id="3" name="TextovéPole 2"/>
          <p:cNvSpPr txBox="1"/>
          <p:nvPr/>
        </p:nvSpPr>
        <p:spPr>
          <a:xfrm>
            <a:off x="6966963" y="2646752"/>
            <a:ext cx="479092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600" dirty="0" smtClean="0"/>
              <a:t>Závěrečné hodnocení těchto modelů potvrdilo rychlé zpomalování epidemie při velmi pozitivním dopadu postupující vakcinace a bez rizikového dopadu rozvolňování.</a:t>
            </a:r>
            <a:endParaRPr lang="cs-CZ" sz="1600" dirty="0"/>
          </a:p>
        </p:txBody>
      </p:sp>
      <p:sp>
        <p:nvSpPr>
          <p:cNvPr id="4" name="Šipka dolů 3"/>
          <p:cNvSpPr/>
          <p:nvPr/>
        </p:nvSpPr>
        <p:spPr>
          <a:xfrm>
            <a:off x="10925666" y="3733657"/>
            <a:ext cx="678730" cy="717376"/>
          </a:xfrm>
          <a:prstGeom prst="down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1068608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FFFEC489-9795-4E1E-9719-513139DAB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Scénáře pro dlouhodobé simulace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CEDB038B-E842-4D28-86E5-FAD860403C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8"/>
            <a:ext cx="11487705" cy="1860222"/>
          </a:xfrm>
        </p:spPr>
        <p:txBody>
          <a:bodyPr>
            <a:normAutofit/>
          </a:bodyPr>
          <a:lstStyle/>
          <a:p>
            <a:r>
              <a:rPr lang="cs-CZ" sz="2400" b="1" dirty="0"/>
              <a:t>Scénáře dlouhodobých simulací z 5. 3. 2021</a:t>
            </a:r>
          </a:p>
          <a:p>
            <a:pPr lvl="1"/>
            <a:r>
              <a:rPr lang="cs-CZ" sz="2000" b="1" dirty="0"/>
              <a:t>Scénář I: </a:t>
            </a:r>
            <a:r>
              <a:rPr lang="cs-CZ" sz="2000" dirty="0"/>
              <a:t>Efekt opatření částečně od 19. 2. a zejména od 1. 3.: snížení pracovních kontaktů na 30 %, školní kontakty na 0 %, snížení jiných kontaktů na 30 %</a:t>
            </a:r>
          </a:p>
          <a:p>
            <a:pPr lvl="1"/>
            <a:r>
              <a:rPr lang="cs-CZ" sz="2000" b="1" dirty="0"/>
              <a:t>Scénář II: </a:t>
            </a:r>
            <a:r>
              <a:rPr lang="cs-CZ" sz="2000" dirty="0"/>
              <a:t>Silný efekt opatření částečně od 19. 2. a zejména od 1. 3.: snížení pracovních kontaktů na 20 %, školní kontakty na 0 %, snížení jiných kontaktů na 20 %</a:t>
            </a:r>
          </a:p>
        </p:txBody>
      </p:sp>
      <p:sp>
        <p:nvSpPr>
          <p:cNvPr id="2" name="Šipka dolů 1"/>
          <p:cNvSpPr/>
          <p:nvPr/>
        </p:nvSpPr>
        <p:spPr>
          <a:xfrm>
            <a:off x="1201271" y="3325906"/>
            <a:ext cx="1416423" cy="55581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Zástupný obsah 3">
            <a:extLst>
              <a:ext uri="{FF2B5EF4-FFF2-40B4-BE49-F238E27FC236}">
                <a16:creationId xmlns:a16="http://schemas.microsoft.com/office/drawing/2014/main" id="{CEDB038B-E842-4D28-86E5-FAD860403CDD}"/>
              </a:ext>
            </a:extLst>
          </p:cNvPr>
          <p:cNvSpPr txBox="1">
            <a:spLocks/>
          </p:cNvSpPr>
          <p:nvPr/>
        </p:nvSpPr>
        <p:spPr>
          <a:xfrm>
            <a:off x="381738" y="4110273"/>
            <a:ext cx="11487705" cy="1860222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énář II 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ředpokládá rychlý pokles virové nálože v populaci a opatrné uvolňování opatření v dubnu, bez negativního vlivu na vývoj epidemie. K tomuto scénáři byl pro nerizikový vývoj modelově doplněn rychlý efekt postupující vakcinace, u kterého je předpokládána ochrana očkované osoby již za 14 dní po 1. dávce vakcíny. 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→ tento efekt je modelován ve S</a:t>
            </a:r>
            <a:r>
              <a:rPr kumimoji="0" lang="cs-CZ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énáři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cs-CZ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Ia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1201270" y="5731467"/>
            <a:ext cx="1416423" cy="55581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B465D225-9F63-4054-8EF6-ACEB098FE1B3}"/>
              </a:ext>
            </a:extLst>
          </p:cNvPr>
          <p:cNvSpPr txBox="1"/>
          <p:nvPr/>
        </p:nvSpPr>
        <p:spPr>
          <a:xfrm>
            <a:off x="2995062" y="5601163"/>
            <a:ext cx="6642503" cy="369332"/>
          </a:xfrm>
          <a:prstGeom prst="rect">
            <a:avLst/>
          </a:prstGeom>
          <a:solidFill>
            <a:srgbClr val="FF6600"/>
          </a:solidFill>
          <a:ln>
            <a:solidFill>
              <a:srgbClr val="FF66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a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cs-CZ" sz="18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efektu dubnového uvolnění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+ rychlý efekt vakcinace </a:t>
            </a:r>
          </a:p>
        </p:txBody>
      </p:sp>
    </p:spTree>
    <p:extLst>
      <p:ext uri="{BB962C8B-B14F-4D97-AF65-F5344CB8AC3E}">
        <p14:creationId xmlns:p14="http://schemas.microsoft.com/office/powerpoint/2010/main" val="257889431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2400" dirty="0"/>
              <a:t>Scénáře dlouhodobých simulací</a:t>
            </a:r>
            <a:endParaRPr lang="cs-CZ" sz="2400" dirty="0">
              <a:latin typeface="+mj-lt"/>
            </a:endParaRPr>
          </a:p>
        </p:txBody>
      </p: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D4CEFD9C-3B06-416C-AB13-5153476AA83F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sp>
        <p:nvSpPr>
          <p:cNvPr id="55" name="TextovéPole 54">
            <a:extLst>
              <a:ext uri="{FF2B5EF4-FFF2-40B4-BE49-F238E27FC236}">
                <a16:creationId xmlns:a16="http://schemas.microsoft.com/office/drawing/2014/main" id="{B465D225-9F63-4054-8EF6-ACEB098FE1B3}"/>
              </a:ext>
            </a:extLst>
          </p:cNvPr>
          <p:cNvSpPr txBox="1"/>
          <p:nvPr/>
        </p:nvSpPr>
        <p:spPr>
          <a:xfrm>
            <a:off x="3174357" y="1649544"/>
            <a:ext cx="6642503" cy="369332"/>
          </a:xfrm>
          <a:prstGeom prst="rect">
            <a:avLst/>
          </a:prstGeom>
          <a:solidFill>
            <a:srgbClr val="FF6600"/>
          </a:solidFill>
          <a:ln>
            <a:solidFill>
              <a:srgbClr val="FF660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a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cs-CZ" sz="18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efektu dubnového uvolnění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+ rychlý efekt vakcinace </a:t>
            </a:r>
          </a:p>
        </p:txBody>
      </p:sp>
      <p:cxnSp>
        <p:nvCxnSpPr>
          <p:cNvPr id="56" name="Přímá spojnice se šipkou 55">
            <a:extLst>
              <a:ext uri="{FF2B5EF4-FFF2-40B4-BE49-F238E27FC236}">
                <a16:creationId xmlns:a16="http://schemas.microsoft.com/office/drawing/2014/main" id="{50DE1626-F284-4D84-BDAB-EF119447AE2F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Přímá spojnice se šipkou 56">
            <a:extLst>
              <a:ext uri="{FF2B5EF4-FFF2-40B4-BE49-F238E27FC236}">
                <a16:creationId xmlns:a16="http://schemas.microsoft.com/office/drawing/2014/main" id="{2BDC46C6-5DD5-4213-8D28-87E6DBE1AB78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8" name="Chart 4">
            <a:extLst>
              <a:ext uri="{FF2B5EF4-FFF2-40B4-BE49-F238E27FC236}">
                <a16:creationId xmlns:a16="http://schemas.microsoft.com/office/drawing/2014/main" id="{6AF8037E-9CEB-4EF9-871D-03B93915FF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1323702"/>
              </p:ext>
            </p:extLst>
          </p:nvPr>
        </p:nvGraphicFramePr>
        <p:xfrm>
          <a:off x="556549" y="280823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2" name="Přímá spojnice 61">
            <a:extLst>
              <a:ext uri="{FF2B5EF4-FFF2-40B4-BE49-F238E27FC236}">
                <a16:creationId xmlns:a16="http://schemas.microsoft.com/office/drawing/2014/main" id="{80D93A6D-177B-4185-B647-B8DF07634E10}"/>
              </a:ext>
            </a:extLst>
          </p:cNvPr>
          <p:cNvCxnSpPr>
            <a:cxnSpLocks/>
          </p:cNvCxnSpPr>
          <p:nvPr/>
        </p:nvCxnSpPr>
        <p:spPr>
          <a:xfrm>
            <a:off x="1877658" y="2712638"/>
            <a:ext cx="237744" cy="0"/>
          </a:xfrm>
          <a:prstGeom prst="line">
            <a:avLst/>
          </a:prstGeom>
          <a:ln w="38100">
            <a:solidFill>
              <a:schemeClr val="accent3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618D1943-12D3-4993-BD5F-AF6C65AB8F85}"/>
              </a:ext>
            </a:extLst>
          </p:cNvPr>
          <p:cNvSpPr txBox="1"/>
          <p:nvPr/>
        </p:nvSpPr>
        <p:spPr>
          <a:xfrm>
            <a:off x="2173690" y="2530431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64" name="Obdélník 63">
            <a:extLst>
              <a:ext uri="{FF2B5EF4-FFF2-40B4-BE49-F238E27FC236}">
                <a16:creationId xmlns:a16="http://schemas.microsoft.com/office/drawing/2014/main" id="{FF9D4894-4AE1-4907-A2C1-EBC6B8B4E502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Snímek prezentuje výsledky simulace prostřednictvím epidemiologického modelu SEIRV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  <a:endParaRPr kumimoji="0" lang="cs-CZ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66" name="Obdélník 65">
            <a:extLst>
              <a:ext uri="{FF2B5EF4-FFF2-40B4-BE49-F238E27FC236}">
                <a16:creationId xmlns:a16="http://schemas.microsoft.com/office/drawing/2014/main" id="{36CCB663-0E68-4640-BF33-FA593EA32061}"/>
              </a:ext>
            </a:extLst>
          </p:cNvPr>
          <p:cNvSpPr/>
          <p:nvPr/>
        </p:nvSpPr>
        <p:spPr>
          <a:xfrm>
            <a:off x="1900301" y="216015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TextovéPole 66">
            <a:extLst>
              <a:ext uri="{FF2B5EF4-FFF2-40B4-BE49-F238E27FC236}">
                <a16:creationId xmlns:a16="http://schemas.microsoft.com/office/drawing/2014/main" id="{029FB996-37A5-40D2-AF91-BDC4A30C0984}"/>
              </a:ext>
            </a:extLst>
          </p:cNvPr>
          <p:cNvSpPr txBox="1"/>
          <p:nvPr/>
        </p:nvSpPr>
        <p:spPr>
          <a:xfrm>
            <a:off x="2197481" y="2124391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30. 5. 2021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68" name="Obdélník 67">
            <a:extLst>
              <a:ext uri="{FF2B5EF4-FFF2-40B4-BE49-F238E27FC236}">
                <a16:creationId xmlns:a16="http://schemas.microsoft.com/office/drawing/2014/main" id="{E6597242-CEB1-44FD-BFBE-11D4203E109C}"/>
              </a:ext>
            </a:extLst>
          </p:cNvPr>
          <p:cNvSpPr/>
          <p:nvPr/>
        </p:nvSpPr>
        <p:spPr>
          <a:xfrm>
            <a:off x="2197481" y="2826681"/>
            <a:ext cx="175721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5. 3. 2021)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5376E359-53AC-4716-97B2-ABAF6B80A34E}"/>
              </a:ext>
            </a:extLst>
          </p:cNvPr>
          <p:cNvSpPr txBox="1"/>
          <p:nvPr/>
        </p:nvSpPr>
        <p:spPr>
          <a:xfrm>
            <a:off x="2197481" y="3124379"/>
            <a:ext cx="33523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a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8" name="Přímá spojnice 17">
            <a:extLst>
              <a:ext uri="{FF2B5EF4-FFF2-40B4-BE49-F238E27FC236}">
                <a16:creationId xmlns:a16="http://schemas.microsoft.com/office/drawing/2014/main" id="{F6111063-B439-4FD9-9FD3-4175F0D8D3BD}"/>
              </a:ext>
            </a:extLst>
          </p:cNvPr>
          <p:cNvCxnSpPr>
            <a:cxnSpLocks/>
          </p:cNvCxnSpPr>
          <p:nvPr/>
        </p:nvCxnSpPr>
        <p:spPr>
          <a:xfrm>
            <a:off x="1902736" y="3260392"/>
            <a:ext cx="237744" cy="0"/>
          </a:xfrm>
          <a:prstGeom prst="line">
            <a:avLst/>
          </a:prstGeom>
          <a:ln w="38100">
            <a:solidFill>
              <a:srgbClr val="FF66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bdélník 18">
            <a:extLst>
              <a:ext uri="{FF2B5EF4-FFF2-40B4-BE49-F238E27FC236}">
                <a16:creationId xmlns:a16="http://schemas.microsoft.com/office/drawing/2014/main" id="{1E00F13A-C0C8-4436-A1B8-589C547BB6D3}"/>
              </a:ext>
            </a:extLst>
          </p:cNvPr>
          <p:cNvSpPr/>
          <p:nvPr/>
        </p:nvSpPr>
        <p:spPr>
          <a:xfrm>
            <a:off x="2197481" y="3404822"/>
            <a:ext cx="172515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3. 4. 2021)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34E638C8-29BF-4E40-BC86-1339E761E909}"/>
              </a:ext>
            </a:extLst>
          </p:cNvPr>
          <p:cNvSpPr txBox="1"/>
          <p:nvPr/>
        </p:nvSpPr>
        <p:spPr>
          <a:xfrm>
            <a:off x="3174357" y="854676"/>
            <a:ext cx="6642503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II: významné posílení opatření a rychlé zpomalení epidemie </a:t>
            </a:r>
          </a:p>
        </p:txBody>
      </p:sp>
      <p:sp>
        <p:nvSpPr>
          <p:cNvPr id="21" name="TextovéPole 20"/>
          <p:cNvSpPr txBox="1"/>
          <p:nvPr/>
        </p:nvSpPr>
        <p:spPr>
          <a:xfrm>
            <a:off x="6966963" y="2646752"/>
            <a:ext cx="479092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600" dirty="0" smtClean="0"/>
              <a:t>Závěrečné hodnocení těchto modelů potvrdilo rychlé zpomalování epidemie při velmi pozitivním dopadu postupující vakcinace a bez rizikového dopadu rozvolňování.</a:t>
            </a:r>
            <a:endParaRPr lang="cs-CZ" sz="1600" dirty="0"/>
          </a:p>
        </p:txBody>
      </p:sp>
      <p:sp>
        <p:nvSpPr>
          <p:cNvPr id="22" name="Šipka dolů 21"/>
          <p:cNvSpPr/>
          <p:nvPr/>
        </p:nvSpPr>
        <p:spPr>
          <a:xfrm>
            <a:off x="10925666" y="3733657"/>
            <a:ext cx="678730" cy="717376"/>
          </a:xfrm>
          <a:prstGeom prst="down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4566573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FFFEC489-9795-4E1E-9719-513139DAB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Nové scénáře </a:t>
            </a:r>
            <a:r>
              <a:rPr lang="cs-CZ" sz="2400" b="1" dirty="0">
                <a:latin typeface="Arial" panose="020B0604020202020204" pitchFamily="34" charset="0"/>
                <a:cs typeface="Arial" panose="020B0604020202020204" pitchFamily="34" charset="0"/>
              </a:rPr>
              <a:t>pro dlouhodobé </a:t>
            </a:r>
            <a:r>
              <a:rPr lang="cs-CZ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imulace zahrnující efekt vakcinace </a:t>
            </a:r>
            <a:endParaRPr lang="cs-CZ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Zástupný obsah 3">
            <a:extLst>
              <a:ext uri="{FF2B5EF4-FFF2-40B4-BE49-F238E27FC236}">
                <a16:creationId xmlns:a16="http://schemas.microsoft.com/office/drawing/2014/main" id="{0D560AAE-4E15-4CF5-A76C-2680DC9E6E52}"/>
              </a:ext>
            </a:extLst>
          </p:cNvPr>
          <p:cNvSpPr txBox="1">
            <a:spLocks/>
          </p:cNvSpPr>
          <p:nvPr/>
        </p:nvSpPr>
        <p:spPr>
          <a:xfrm>
            <a:off x="278046" y="1470305"/>
            <a:ext cx="11156668" cy="43477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vé scénáře 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louhodobých simulací z 12. 5. 202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časný vývoj odpovídá ve všech typech aplikovaných modelů optimistickému scénáři, který předpokládal brždění epidemie posílené o rychlý efekt postupující vakcinace. </a:t>
            </a:r>
            <a:endParaRPr kumimoji="0" lang="cs-CZ" sz="2000" b="1" i="0" u="none" strike="noStrike" kern="1200" cap="none" spc="0" normalizeH="0" baseline="0" noProof="0" dirty="0" smtClean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mulační 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odely byly nově rozšířeny i na měsíc červen. Vytvořeny byly dvě varianty: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énář I. </a:t>
            </a:r>
            <a:r>
              <a:rPr kumimoji="0" lang="cs-CZ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kračující 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rždění epidemie, bez projevu rozvolnění v dubnu/květnu, zahrnutí vlivu očkování (rychlý scénář, imunita od první dávky)</a:t>
            </a:r>
          </a:p>
          <a:p>
            <a:pPr marL="914400" marR="0" lvl="1" indent="-4572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 typeface="+mj-lt"/>
              <a:buAutoNum type="arabicPeriod"/>
              <a:tabLst/>
              <a:defRPr/>
            </a:pPr>
            <a:endParaRPr kumimoji="0" lang="cs-CZ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énář II. </a:t>
            </a:r>
            <a:r>
              <a:rPr kumimoji="0" lang="cs-CZ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tenciální rizikový dopad 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ozvolnění v květnu, </a:t>
            </a:r>
            <a:r>
              <a:rPr kumimoji="0" lang="cs-CZ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však i zde se zahrnutím 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livu očkování (rychlý scénář, imunita od první dávky)</a:t>
            </a:r>
          </a:p>
        </p:txBody>
      </p:sp>
    </p:spTree>
    <p:extLst>
      <p:ext uri="{BB962C8B-B14F-4D97-AF65-F5344CB8AC3E}">
        <p14:creationId xmlns:p14="http://schemas.microsoft.com/office/powerpoint/2010/main" val="103804360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2400" dirty="0"/>
              <a:t>Scénáře dlouhodobých simulací z 12. 5. 2021</a:t>
            </a:r>
            <a:endParaRPr lang="cs-CZ" sz="2400" dirty="0">
              <a:latin typeface="+mj-lt"/>
            </a:endParaRPr>
          </a:p>
        </p:txBody>
      </p: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D4CEFD9C-3B06-416C-AB13-5153476AA83F}"/>
              </a:ext>
            </a:extLst>
          </p:cNvPr>
          <p:cNvSpPr txBox="1"/>
          <p:nvPr/>
        </p:nvSpPr>
        <p:spPr>
          <a:xfrm>
            <a:off x="202606" y="1104672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56" name="Přímá spojnice se šipkou 55">
            <a:extLst>
              <a:ext uri="{FF2B5EF4-FFF2-40B4-BE49-F238E27FC236}">
                <a16:creationId xmlns:a16="http://schemas.microsoft.com/office/drawing/2014/main" id="{50DE1626-F284-4D84-BDAB-EF119447AE2F}"/>
              </a:ext>
            </a:extLst>
          </p:cNvPr>
          <p:cNvCxnSpPr>
            <a:cxnSpLocks/>
          </p:cNvCxnSpPr>
          <p:nvPr/>
        </p:nvCxnSpPr>
        <p:spPr>
          <a:xfrm flipV="1">
            <a:off x="2536182" y="989491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Přímá spojnice se šipkou 56">
            <a:extLst>
              <a:ext uri="{FF2B5EF4-FFF2-40B4-BE49-F238E27FC236}">
                <a16:creationId xmlns:a16="http://schemas.microsoft.com/office/drawing/2014/main" id="{2BDC46C6-5DD5-4213-8D28-87E6DBE1AB78}"/>
              </a:ext>
            </a:extLst>
          </p:cNvPr>
          <p:cNvCxnSpPr>
            <a:cxnSpLocks/>
          </p:cNvCxnSpPr>
          <p:nvPr/>
        </p:nvCxnSpPr>
        <p:spPr>
          <a:xfrm>
            <a:off x="2536182" y="1416293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D617B260-2959-49F6-A96B-910DA678C668}"/>
              </a:ext>
            </a:extLst>
          </p:cNvPr>
          <p:cNvSpPr txBox="1"/>
          <p:nvPr/>
        </p:nvSpPr>
        <p:spPr>
          <a:xfrm>
            <a:off x="6162851" y="3429985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618D1943-12D3-4993-BD5F-AF6C65AB8F85}"/>
              </a:ext>
            </a:extLst>
          </p:cNvPr>
          <p:cNvSpPr txBox="1"/>
          <p:nvPr/>
        </p:nvSpPr>
        <p:spPr>
          <a:xfrm>
            <a:off x="6154994" y="3701186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64" name="Obdélník 63">
            <a:extLst>
              <a:ext uri="{FF2B5EF4-FFF2-40B4-BE49-F238E27FC236}">
                <a16:creationId xmlns:a16="http://schemas.microsoft.com/office/drawing/2014/main" id="{FF9D4894-4AE1-4907-A2C1-EBC6B8B4E502}"/>
              </a:ext>
            </a:extLst>
          </p:cNvPr>
          <p:cNvSpPr/>
          <p:nvPr/>
        </p:nvSpPr>
        <p:spPr>
          <a:xfrm>
            <a:off x="19726" y="6304000"/>
            <a:ext cx="1217227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66" name="Obdélník 65">
            <a:extLst>
              <a:ext uri="{FF2B5EF4-FFF2-40B4-BE49-F238E27FC236}">
                <a16:creationId xmlns:a16="http://schemas.microsoft.com/office/drawing/2014/main" id="{36CCB663-0E68-4640-BF33-FA593EA32061}"/>
              </a:ext>
            </a:extLst>
          </p:cNvPr>
          <p:cNvSpPr/>
          <p:nvPr/>
        </p:nvSpPr>
        <p:spPr>
          <a:xfrm>
            <a:off x="5881605" y="3108148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TextovéPole 66">
            <a:extLst>
              <a:ext uri="{FF2B5EF4-FFF2-40B4-BE49-F238E27FC236}">
                <a16:creationId xmlns:a16="http://schemas.microsoft.com/office/drawing/2014/main" id="{029FB996-37A5-40D2-AF91-BDC4A30C0984}"/>
              </a:ext>
            </a:extLst>
          </p:cNvPr>
          <p:cNvSpPr txBox="1"/>
          <p:nvPr/>
        </p:nvSpPr>
        <p:spPr>
          <a:xfrm>
            <a:off x="6178785" y="3072380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k uzavřenému dni 30. 5. 2021)</a:t>
            </a:r>
          </a:p>
        </p:txBody>
      </p:sp>
      <p:sp>
        <p:nvSpPr>
          <p:cNvPr id="68" name="Obdélník 67">
            <a:extLst>
              <a:ext uri="{FF2B5EF4-FFF2-40B4-BE49-F238E27FC236}">
                <a16:creationId xmlns:a16="http://schemas.microsoft.com/office/drawing/2014/main" id="{E6597242-CEB1-44FD-BFBE-11D4203E109C}"/>
              </a:ext>
            </a:extLst>
          </p:cNvPr>
          <p:cNvSpPr/>
          <p:nvPr/>
        </p:nvSpPr>
        <p:spPr>
          <a:xfrm>
            <a:off x="6178785" y="3997436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18" name="TextovéPole 29">
            <a:extLst>
              <a:ext uri="{FF2B5EF4-FFF2-40B4-BE49-F238E27FC236}">
                <a16:creationId xmlns:a16="http://schemas.microsoft.com/office/drawing/2014/main" id="{3C4CA9C0-234E-4061-B982-BDD411EA090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815230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</a:t>
            </a:r>
            <a:r>
              <a:rPr kumimoji="0" lang="cs-CZ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ění opatření a zahrnutí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9" name="TextovéPole 30">
            <a:extLst>
              <a:ext uri="{FF2B5EF4-FFF2-40B4-BE49-F238E27FC236}">
                <a16:creationId xmlns:a16="http://schemas.microsoft.com/office/drawing/2014/main" id="{D6C1EF2E-E712-415C-9E89-AFCAC549674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550124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20" name="Přímá spojnice 19">
            <a:extLst>
              <a:ext uri="{FF2B5EF4-FFF2-40B4-BE49-F238E27FC236}">
                <a16:creationId xmlns:a16="http://schemas.microsoft.com/office/drawing/2014/main" id="{9C790622-BD29-41BA-9A33-8DE245D0C44B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583873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AF80B653-AA58-46BD-90E6-9CAF177481C2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3871743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ovéPole 24">
            <a:extLst>
              <a:ext uri="{FF2B5EF4-FFF2-40B4-BE49-F238E27FC236}">
                <a16:creationId xmlns:a16="http://schemas.microsoft.com/office/drawing/2014/main" id="{594046C5-48BD-46C8-861D-63B1F65F166E}"/>
              </a:ext>
            </a:extLst>
          </p:cNvPr>
          <p:cNvSpPr txBox="1"/>
          <p:nvPr/>
        </p:nvSpPr>
        <p:spPr>
          <a:xfrm>
            <a:off x="3060057" y="1940515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  <p:graphicFrame>
        <p:nvGraphicFramePr>
          <p:cNvPr id="22" name="Chart 4">
            <a:extLst>
              <a:ext uri="{FF2B5EF4-FFF2-40B4-BE49-F238E27FC236}">
                <a16:creationId xmlns:a16="http://schemas.microsoft.com/office/drawing/2014/main" id="{9B1BD1AE-205E-4A95-9502-00A2C9A5CFAD}"/>
              </a:ext>
            </a:extLst>
          </p:cNvPr>
          <p:cNvGraphicFramePr/>
          <p:nvPr/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27691917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693109"/>
            <a:ext cx="11905307" cy="2140532"/>
          </a:xfrm>
        </p:spPr>
        <p:txBody>
          <a:bodyPr>
            <a:normAutofit/>
          </a:bodyPr>
          <a:lstStyle/>
          <a:p>
            <a:r>
              <a:rPr lang="cs-CZ" sz="5200" b="1" dirty="0"/>
              <a:t>Krátkodobé predikce zátěže nemocnic</a:t>
            </a:r>
          </a:p>
          <a:p>
            <a:r>
              <a:rPr lang="cs-CZ" sz="3600" i="1" dirty="0"/>
              <a:t>Nově vybudované modely pro květen, kalibrace z 28.4. 2021</a:t>
            </a:r>
          </a:p>
        </p:txBody>
      </p:sp>
    </p:spTree>
    <p:extLst>
      <p:ext uri="{BB962C8B-B14F-4D97-AF65-F5344CB8AC3E}">
        <p14:creationId xmlns:p14="http://schemas.microsoft.com/office/powerpoint/2010/main" val="276807159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le 33">
            <a:extLst>
              <a:ext uri="{FF2B5EF4-FFF2-40B4-BE49-F238E27FC236}">
                <a16:creationId xmlns:a16="http://schemas.microsoft.com/office/drawing/2014/main" id="{D87B3B26-75F2-497B-82CD-BB5C454F0D10}"/>
              </a:ext>
            </a:extLst>
          </p:cNvPr>
          <p:cNvGraphicFramePr>
            <a:graphicFrameLocks noGrp="1"/>
          </p:cNvGraphicFramePr>
          <p:nvPr/>
        </p:nvGraphicFramePr>
        <p:xfrm>
          <a:off x="838200" y="3088673"/>
          <a:ext cx="9064944" cy="3505200"/>
        </p:xfrm>
        <a:graphic>
          <a:graphicData uri="http://schemas.openxmlformats.org/drawingml/2006/table">
            <a:tbl>
              <a:tblPr/>
              <a:tblGrid>
                <a:gridCol w="7173873">
                  <a:extLst>
                    <a:ext uri="{9D8B030D-6E8A-4147-A177-3AD203B41FA5}">
                      <a16:colId xmlns:a16="http://schemas.microsoft.com/office/drawing/2014/main" val="1918387992"/>
                    </a:ext>
                  </a:extLst>
                </a:gridCol>
                <a:gridCol w="1891071">
                  <a:extLst>
                    <a:ext uri="{9D8B030D-6E8A-4147-A177-3AD203B41FA5}">
                      <a16:colId xmlns:a16="http://schemas.microsoft.com/office/drawing/2014/main" val="1639439843"/>
                    </a:ext>
                  </a:extLst>
                </a:gridCol>
              </a:tblGrid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 v nemocnici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91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9789772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JIP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1122535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UPV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2193534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ECMO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2537972"/>
                  </a:ext>
                </a:extLst>
              </a:tr>
            </a:tbl>
          </a:graphicData>
        </a:graphic>
      </p:graphicFrame>
      <p:sp>
        <p:nvSpPr>
          <p:cNvPr id="35" name="Šipka dolů 1">
            <a:extLst>
              <a:ext uri="{FF2B5EF4-FFF2-40B4-BE49-F238E27FC236}">
                <a16:creationId xmlns:a16="http://schemas.microsoft.com/office/drawing/2014/main" id="{273E8147-1472-4BD2-B50D-7B3FC07C0A0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144651" y="1892081"/>
            <a:ext cx="1588655" cy="785091"/>
          </a:xfrm>
          <a:prstGeom prst="downArrow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AFABE329-CC08-4062-8E80-53173DE0C38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77008" y="334108"/>
            <a:ext cx="1113106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ktuální </a:t>
            </a: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ty </a:t>
            </a:r>
            <a:r>
              <a:rPr kumimoji="0" lang="en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ovaných</a:t>
            </a: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acientů klesají</a:t>
            </a:r>
            <a:b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roste i dostupná kapacita lůžek, včetně JIP</a:t>
            </a:r>
            <a:endParaRPr kumimoji="0" lang="cs-CZ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Šipka doprava 5">
            <a:extLst>
              <a:ext uri="{FF2B5EF4-FFF2-40B4-BE49-F238E27FC236}">
                <a16:creationId xmlns:a16="http://schemas.microsoft.com/office/drawing/2014/main" id="{8B605E19-8E0D-463F-BF24-B2B0E9C63C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5400000">
            <a:off x="10031632" y="3369110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Šipka doprava 6">
            <a:extLst>
              <a:ext uri="{FF2B5EF4-FFF2-40B4-BE49-F238E27FC236}">
                <a16:creationId xmlns:a16="http://schemas.microsoft.com/office/drawing/2014/main" id="{D25A05A7-A807-4583-A277-C5FD37355EA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5400000">
            <a:off x="10031632" y="4224634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Šipka doprava 7">
            <a:extLst>
              <a:ext uri="{FF2B5EF4-FFF2-40B4-BE49-F238E27FC236}">
                <a16:creationId xmlns:a16="http://schemas.microsoft.com/office/drawing/2014/main" id="{6DB20091-CCBD-46D7-9A06-C1C750C62DA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5400000">
            <a:off x="10031632" y="5084257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Šipka doprava 7">
            <a:extLst>
              <a:ext uri="{FF2B5EF4-FFF2-40B4-BE49-F238E27FC236}">
                <a16:creationId xmlns:a16="http://schemas.microsoft.com/office/drawing/2014/main" id="{A73723C6-25FD-4433-AFB1-043FE8AB577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 rot="5400000">
            <a:off x="10019398" y="5943880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2" name="Tabulka 4">
            <a:extLst>
              <a:ext uri="{FF2B5EF4-FFF2-40B4-BE49-F238E27FC236}">
                <a16:creationId xmlns:a16="http://schemas.microsoft.com/office/drawing/2014/main" id="{DA80FA87-70B0-482E-A1B4-C1CC710BDFE2}"/>
              </a:ext>
            </a:extLst>
          </p:cNvPr>
          <p:cNvGraphicFramePr>
            <a:graphicFrameLocks noGrp="1"/>
          </p:cNvGraphicFramePr>
          <p:nvPr/>
        </p:nvGraphicFramePr>
        <p:xfrm>
          <a:off x="7737231" y="2713132"/>
          <a:ext cx="3077308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8846">
                  <a:extLst>
                    <a:ext uri="{9D8B030D-6E8A-4147-A177-3AD203B41FA5}">
                      <a16:colId xmlns:a16="http://schemas.microsoft.com/office/drawing/2014/main" val="3701563452"/>
                    </a:ext>
                  </a:extLst>
                </a:gridCol>
                <a:gridCol w="1758462">
                  <a:extLst>
                    <a:ext uri="{9D8B030D-6E8A-4147-A177-3AD203B41FA5}">
                      <a16:colId xmlns:a16="http://schemas.microsoft.com/office/drawing/2014/main" val="212158555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cs-CZ" sz="2400"/>
                        <a:t>Stav k</a:t>
                      </a:r>
                      <a:endParaRPr lang="cs-CZ" sz="2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4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0.05.2021</a:t>
                      </a:r>
                      <a:endParaRPr lang="cs-CZ" sz="2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265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9091893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140141" y="4287824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3" name="TextovéPole 22"/>
          <p:cNvSpPr txBox="1"/>
          <p:nvPr/>
        </p:nvSpPr>
        <p:spPr>
          <a:xfrm>
            <a:off x="381739" y="94911"/>
            <a:ext cx="1137535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R </a:t>
            </a:r>
            <a:r>
              <a:rPr kumimoji="0" lang="cs-CZ" sz="30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esají</a:t>
            </a:r>
          </a:p>
        </p:txBody>
      </p:sp>
      <p:sp>
        <p:nvSpPr>
          <p:cNvPr id="29" name="Zahnutá šipka nahoru 25">
            <a:extLst>
              <a:ext uri="{FF2B5EF4-FFF2-40B4-BE49-F238E27FC236}">
                <a16:creationId xmlns:a16="http://schemas.microsoft.com/office/drawing/2014/main" id="{77962815-283B-44A7-A845-1BB5AFDAE33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Zahnutá šipka nahoru 25">
            <a:extLst>
              <a:ext uri="{FF2B5EF4-FFF2-40B4-BE49-F238E27FC236}">
                <a16:creationId xmlns:a16="http://schemas.microsoft.com/office/drawing/2014/main" id="{900DBD3A-25FF-44DB-9A70-41A63B98A098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8BC9AE2D-ED68-40C1-9F08-DFCD52A3016B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08D19FD2-8694-431A-B064-708B54BC4306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386622" y="1881553"/>
          <a:ext cx="11805378" cy="47593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pSp>
        <p:nvGrpSpPr>
          <p:cNvPr id="22" name="Skupina 21">
            <a:extLst>
              <a:ext uri="{FF2B5EF4-FFF2-40B4-BE49-F238E27FC236}">
                <a16:creationId xmlns:a16="http://schemas.microsoft.com/office/drawing/2014/main" id="{6893A30C-13C1-48B0-8E66-4452BB2AA16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900378"/>
            <a:ext cx="1900937" cy="1908215"/>
            <a:chOff x="10258697" y="3526984"/>
            <a:chExt cx="1900937" cy="2050641"/>
          </a:xfrm>
        </p:grpSpPr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BFB909AD-5289-44A3-B1F2-3B9234B8EE2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BEA18967-C642-4BF3-B34F-32EEB41C01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Obdélník 39">
              <a:extLst>
                <a:ext uri="{FF2B5EF4-FFF2-40B4-BE49-F238E27FC236}">
                  <a16:creationId xmlns:a16="http://schemas.microsoft.com/office/drawing/2014/main" id="{21846B38-EB34-4DB8-A436-D436168812D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TextovéPole 28">
              <a:extLst>
                <a:ext uri="{FF2B5EF4-FFF2-40B4-BE49-F238E27FC236}">
                  <a16:creationId xmlns:a16="http://schemas.microsoft.com/office/drawing/2014/main" id="{73BB0644-34DD-4DA4-BD0A-DF4A8CE2ED3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20506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</a:t>
              </a: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= 0,9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8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7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ximální počet pacientů s COVID-19 na lůžkách za období říjen/listopad 2020</a:t>
              </a:r>
              <a:endPara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42" name="Přímá spojnice 41">
              <a:extLst>
                <a:ext uri="{FF2B5EF4-FFF2-40B4-BE49-F238E27FC236}">
                  <a16:creationId xmlns:a16="http://schemas.microsoft.com/office/drawing/2014/main" id="{B9E18A0F-634C-4FB8-9C2E-7529D9949A6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Přímá spojnice 42">
              <a:extLst>
                <a:ext uri="{FF2B5EF4-FFF2-40B4-BE49-F238E27FC236}">
                  <a16:creationId xmlns:a16="http://schemas.microsoft.com/office/drawing/2014/main" id="{A2B38171-9386-487D-86F3-56F99584FA2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le 1">
            <a:extLst>
              <a:ext uri="{FF2B5EF4-FFF2-40B4-BE49-F238E27FC236}">
                <a16:creationId xmlns:a16="http://schemas.microsoft.com/office/drawing/2014/main" id="{9AC0B056-996D-4227-9DBB-8386CF35A03B}"/>
              </a:ext>
            </a:extLst>
          </p:cNvPr>
          <p:cNvGraphicFramePr>
            <a:graphicFrameLocks noGrp="1"/>
          </p:cNvGraphicFramePr>
          <p:nvPr/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 4.–1. 5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. 5.–8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9. 5.–15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6. 5.–22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3. 5.–29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3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17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88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46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6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1,0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7,1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2,1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7,5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  <p:sp>
        <p:nvSpPr>
          <p:cNvPr id="44" name="TextBox 9">
            <a:extLst>
              <a:ext uri="{FF2B5EF4-FFF2-40B4-BE49-F238E27FC236}">
                <a16:creationId xmlns:a16="http://schemas.microsoft.com/office/drawing/2014/main" id="{A7EDDDB3-60FE-4BF3-AD6E-EC4DF377ACB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84777" y="3305908"/>
            <a:ext cx="1859196" cy="470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5325388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4">
            <a:extLst>
              <a:ext uri="{FF2B5EF4-FFF2-40B4-BE49-F238E27FC236}">
                <a16:creationId xmlns:a16="http://schemas.microsoft.com/office/drawing/2014/main" id="{4231A2FA-B47D-4C3D-8DDD-0F1ACD6C839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983075" y="3867155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žadujících intenzivní péči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507D902C-D9A4-417A-909B-281157810E3B}"/>
              </a:ext>
            </a:extLst>
          </p:cNvPr>
          <p:cNvSpPr txBox="1"/>
          <p:nvPr/>
        </p:nvSpPr>
        <p:spPr>
          <a:xfrm>
            <a:off x="184727" y="12542"/>
            <a:ext cx="11797686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na JIP v ČR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esají</a:t>
            </a:r>
            <a:endParaRPr kumimoji="0" lang="cs-CZ" sz="28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5D1CA4ED-3B54-4AF5-A724-D10A278B2BB4}"/>
              </a:ext>
            </a:extLst>
          </p:cNvPr>
          <p:cNvGraphicFramePr/>
          <p:nvPr/>
        </p:nvGraphicFramePr>
        <p:xfrm>
          <a:off x="557348" y="2233245"/>
          <a:ext cx="11634651" cy="43984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21" name="Skupina 20">
            <a:extLst>
              <a:ext uri="{FF2B5EF4-FFF2-40B4-BE49-F238E27FC236}">
                <a16:creationId xmlns:a16="http://schemas.microsoft.com/office/drawing/2014/main" id="{B9467872-2E2D-483D-9051-248F9B679CD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BA5D4EF8-791B-4AC7-95EC-26F641E5D80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AAF39631-D007-4DCC-BE9F-1756C7735EE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Obdélník 30">
              <a:extLst>
                <a:ext uri="{FF2B5EF4-FFF2-40B4-BE49-F238E27FC236}">
                  <a16:creationId xmlns:a16="http://schemas.microsoft.com/office/drawing/2014/main" id="{A948540E-6D40-49FE-B36C-8A36C14B109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TextovéPole 28">
              <a:extLst>
                <a:ext uri="{FF2B5EF4-FFF2-40B4-BE49-F238E27FC236}">
                  <a16:creationId xmlns:a16="http://schemas.microsoft.com/office/drawing/2014/main" id="{69C4313E-E871-45D7-A260-E9B39E1AF38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</a:t>
              </a: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= 0,9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8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7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ximální počet pacientů s COVID-19 na lůžkách za období říjen/listopad 2020</a:t>
              </a:r>
              <a:endPara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237A5BB3-D390-4057-9107-0BFDE16D703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EB715DD8-1FB5-4345-AED7-D5983CB9355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5" name="Table 42">
            <a:extLst>
              <a:ext uri="{FF2B5EF4-FFF2-40B4-BE49-F238E27FC236}">
                <a16:creationId xmlns:a16="http://schemas.microsoft.com/office/drawing/2014/main" id="{DEBB9422-1F47-4875-BAC4-82D804B23C51}"/>
              </a:ext>
            </a:extLst>
          </p:cNvPr>
          <p:cNvGraphicFramePr>
            <a:graphicFrameLocks noGrp="1"/>
          </p:cNvGraphicFramePr>
          <p:nvPr/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 4.–1. 5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. 5.–8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9. 5.–15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6. 5.–22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3. 5.–29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7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7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7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2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5,0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4,1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4,5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8,5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  <p:sp>
        <p:nvSpPr>
          <p:cNvPr id="44" name="Zahnutá šipka nahoru 25">
            <a:extLst>
              <a:ext uri="{FF2B5EF4-FFF2-40B4-BE49-F238E27FC236}">
                <a16:creationId xmlns:a16="http://schemas.microsoft.com/office/drawing/2014/main" id="{DD00329A-1C9A-46DB-B313-08A07865150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Zahnutá šipka nahoru 25">
            <a:extLst>
              <a:ext uri="{FF2B5EF4-FFF2-40B4-BE49-F238E27FC236}">
                <a16:creationId xmlns:a16="http://schemas.microsoft.com/office/drawing/2014/main" id="{D048DF33-1F93-4BCD-9CA7-BEB90F6D9964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Zahnutá šipka nahoru 25">
            <a:extLst>
              <a:ext uri="{FF2B5EF4-FFF2-40B4-BE49-F238E27FC236}">
                <a16:creationId xmlns:a16="http://schemas.microsoft.com/office/drawing/2014/main" id="{061772AD-B26D-41E1-8302-56FC079A1B0F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TextBox 9">
            <a:extLst>
              <a:ext uri="{FF2B5EF4-FFF2-40B4-BE49-F238E27FC236}">
                <a16:creationId xmlns:a16="http://schemas.microsoft.com/office/drawing/2014/main" id="{81B9859D-FCC7-4B87-A5A4-E0A0318FD9E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84777" y="3305908"/>
            <a:ext cx="1859196" cy="470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19040742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308FBC4-9856-48C7-8DF3-A027D07EF2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819" y="0"/>
            <a:ext cx="5763181" cy="1059255"/>
          </a:xfrm>
        </p:spPr>
        <p:txBody>
          <a:bodyPr/>
          <a:lstStyle/>
          <a:p>
            <a:r>
              <a:rPr lang="cs-CZ" dirty="0"/>
              <a:t>Navržené scénáře pro </a:t>
            </a:r>
            <a:br>
              <a:rPr lang="cs-CZ" dirty="0"/>
            </a:br>
            <a:r>
              <a:rPr lang="cs-CZ" dirty="0"/>
              <a:t>vývoj epidemie v květnu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E5D9B15-9A2B-4DD9-96F4-1AF57AAB98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2819" y="1457767"/>
            <a:ext cx="10847093" cy="4428821"/>
          </a:xfrm>
        </p:spPr>
        <p:txBody>
          <a:bodyPr>
            <a:noAutofit/>
          </a:bodyPr>
          <a:lstStyle/>
          <a:p>
            <a:r>
              <a:rPr lang="cs-CZ" sz="1800" b="1" dirty="0"/>
              <a:t>V návaznosti na novou kalibraci modelu 27. 4. byly připraveny nové scénáře</a:t>
            </a:r>
            <a:r>
              <a:rPr lang="en-US" sz="1800" b="1" dirty="0"/>
              <a:t>*</a:t>
            </a:r>
            <a:endParaRPr lang="cs-CZ" sz="1800" b="1" dirty="0"/>
          </a:p>
          <a:p>
            <a:r>
              <a:rPr lang="cs-CZ" sz="1800" b="1" dirty="0">
                <a:solidFill>
                  <a:srgbClr val="00B050"/>
                </a:solidFill>
              </a:rPr>
              <a:t>Scénář </a:t>
            </a:r>
            <a:r>
              <a:rPr lang="en-US" sz="1800" b="1" dirty="0">
                <a:solidFill>
                  <a:srgbClr val="00B050"/>
                </a:solidFill>
              </a:rPr>
              <a:t>A</a:t>
            </a:r>
            <a:r>
              <a:rPr lang="cs-CZ" sz="1800" b="1" dirty="0">
                <a:solidFill>
                  <a:srgbClr val="00B050"/>
                </a:solidFill>
              </a:rPr>
              <a:t> (scénář velmi významného zpomalení epidemie; předpokládané udržitelné R = </a:t>
            </a:r>
            <a:r>
              <a:rPr lang="en-US" sz="1800" b="1" dirty="0">
                <a:solidFill>
                  <a:srgbClr val="00B050"/>
                </a:solidFill>
              </a:rPr>
              <a:t>0,</a:t>
            </a:r>
            <a:r>
              <a:rPr lang="cs-CZ" sz="1800" b="1" dirty="0">
                <a:solidFill>
                  <a:srgbClr val="00B050"/>
                </a:solidFill>
              </a:rPr>
              <a:t>75)</a:t>
            </a:r>
          </a:p>
          <a:p>
            <a:pPr lvl="1"/>
            <a:r>
              <a:rPr lang="cs-CZ" sz="1600" dirty="0"/>
              <a:t>výrazný dopad opatření účinných od 1. 3. 2021, předpokládané další zlepšení díky vlivu sezónnosti, rozvoji dalších mechanismů (např. testování a trasování), postupující vakcinace.</a:t>
            </a:r>
          </a:p>
          <a:p>
            <a:r>
              <a:rPr lang="cs-CZ" sz="1800" b="1" dirty="0">
                <a:solidFill>
                  <a:srgbClr val="0070C0"/>
                </a:solidFill>
              </a:rPr>
              <a:t>Scénář B (scénář pokračujícího zpomalení epidemie; předpokládané R = 0,85)</a:t>
            </a:r>
          </a:p>
          <a:p>
            <a:pPr lvl="1"/>
            <a:r>
              <a:rPr lang="cs-CZ" sz="1600" dirty="0"/>
              <a:t>výrazný dopad opatření účinných od 1. 3. 2021, odpovídá aktuálním hodnotám reprodukčního čísla a aktuálním trendům ve zpomalení epidemie </a:t>
            </a:r>
          </a:p>
          <a:p>
            <a:r>
              <a:rPr lang="cs-CZ" sz="1800" b="1" dirty="0">
                <a:solidFill>
                  <a:srgbClr val="FFC618"/>
                </a:solidFill>
              </a:rPr>
              <a:t>Scénář C (scénář stagnace epidemie, předpokládané R = 0,95)</a:t>
            </a:r>
          </a:p>
          <a:p>
            <a:pPr lvl="1"/>
            <a:r>
              <a:rPr lang="cs-CZ" sz="1600" dirty="0"/>
              <a:t>scénář pro zpomalení poklesu vlivem částečného dopadu probíhajících rozvolnění</a:t>
            </a:r>
          </a:p>
          <a:p>
            <a:r>
              <a:rPr lang="cs-CZ" sz="1800" b="1" dirty="0">
                <a:solidFill>
                  <a:srgbClr val="FF0000"/>
                </a:solidFill>
              </a:rPr>
              <a:t>Scénář D (rizikový scénář, předpokládané R = 1,10)</a:t>
            </a:r>
          </a:p>
          <a:p>
            <a:pPr lvl="1"/>
            <a:r>
              <a:rPr lang="cs-CZ" sz="1600" dirty="0"/>
              <a:t>opětovné zhoršení situace v důsledku rozvolnění, snížení akceptace opatření populací, vlivu emergentních (mutovaných) variant SARS-CoV-2 apod.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267E8C24-967E-41C5-A2B5-229406E471EE}"/>
              </a:ext>
            </a:extLst>
          </p:cNvPr>
          <p:cNvSpPr txBox="1"/>
          <p:nvPr/>
        </p:nvSpPr>
        <p:spPr>
          <a:xfrm>
            <a:off x="254549" y="5961934"/>
            <a:ext cx="1179091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povíd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j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 kalibraci reprodukčního čísla SIR epidemiologickým modelem pro krátkodobé predikce ÚZIS ČR v segmentu od 1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3. do 26. 4. 202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odhad 0,83 (0,77–0,88), interval odpovídá 95% intervalu neurčitosti z odhadů získaných kalibrací modelu, kalibračním cílem byly denní přírůstky s vyjmutím volných dnů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énáře pro různou dynamiku šíření epidemie v následujícím období jsou aplikovány od 19. 4. 2021.</a:t>
            </a:r>
          </a:p>
        </p:txBody>
      </p:sp>
    </p:spTree>
    <p:extLst>
      <p:ext uri="{BB962C8B-B14F-4D97-AF65-F5344CB8AC3E}">
        <p14:creationId xmlns:p14="http://schemas.microsoft.com/office/powerpoint/2010/main" val="29989206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851703" y="2651451"/>
            <a:ext cx="2923309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sazená akutní lůžka C+ pacienty k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8.5.2021 00:18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42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/>
        </p:nvGraphicFramePr>
        <p:xfrm>
          <a:off x="332818" y="988287"/>
          <a:ext cx="8709581" cy="5197339"/>
        </p:xfrm>
        <a:graphic>
          <a:graphicData uri="http://schemas.openxmlformats.org/drawingml/2006/table">
            <a:tbl>
              <a:tblPr/>
              <a:tblGrid>
                <a:gridCol w="1919923">
                  <a:extLst>
                    <a:ext uri="{9D8B030D-6E8A-4147-A177-3AD203B41FA5}">
                      <a16:colId xmlns:a16="http://schemas.microsoft.com/office/drawing/2014/main" val="832959336"/>
                    </a:ext>
                  </a:extLst>
                </a:gridCol>
                <a:gridCol w="1093466">
                  <a:extLst>
                    <a:ext uri="{9D8B030D-6E8A-4147-A177-3AD203B41FA5}">
                      <a16:colId xmlns:a16="http://schemas.microsoft.com/office/drawing/2014/main" val="111452055"/>
                    </a:ext>
                  </a:extLst>
                </a:gridCol>
                <a:gridCol w="1080751">
                  <a:extLst>
                    <a:ext uri="{9D8B030D-6E8A-4147-A177-3AD203B41FA5}">
                      <a16:colId xmlns:a16="http://schemas.microsoft.com/office/drawing/2014/main" val="1859422998"/>
                    </a:ext>
                  </a:extLst>
                </a:gridCol>
                <a:gridCol w="1080751">
                  <a:extLst>
                    <a:ext uri="{9D8B030D-6E8A-4147-A177-3AD203B41FA5}">
                      <a16:colId xmlns:a16="http://schemas.microsoft.com/office/drawing/2014/main" val="3829286824"/>
                    </a:ext>
                  </a:extLst>
                </a:gridCol>
                <a:gridCol w="1131609">
                  <a:extLst>
                    <a:ext uri="{9D8B030D-6E8A-4147-A177-3AD203B41FA5}">
                      <a16:colId xmlns:a16="http://schemas.microsoft.com/office/drawing/2014/main" val="707359794"/>
                    </a:ext>
                  </a:extLst>
                </a:gridCol>
                <a:gridCol w="1131609">
                  <a:extLst>
                    <a:ext uri="{9D8B030D-6E8A-4147-A177-3AD203B41FA5}">
                      <a16:colId xmlns:a16="http://schemas.microsoft.com/office/drawing/2014/main" val="4146768732"/>
                    </a:ext>
                  </a:extLst>
                </a:gridCol>
                <a:gridCol w="1271472">
                  <a:extLst>
                    <a:ext uri="{9D8B030D-6E8A-4147-A177-3AD203B41FA5}">
                      <a16:colId xmlns:a16="http://schemas.microsoft.com/office/drawing/2014/main" val="2764788832"/>
                    </a:ext>
                  </a:extLst>
                </a:gridCol>
              </a:tblGrid>
              <a:tr h="221018">
                <a:tc gridSpan="5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akutních lůžek (ARO + JIP) v ČR k 28.5. 2021, 12:30 h</a:t>
                      </a:r>
                    </a:p>
                  </a:txBody>
                  <a:tcPr marL="5307" marR="5307" marT="530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78868056"/>
                  </a:ext>
                </a:extLst>
              </a:tr>
              <a:tr h="187673"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2288824"/>
                  </a:ext>
                </a:extLst>
              </a:tr>
              <a:tr h="221018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kutní lůžka IP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4321296"/>
                  </a:ext>
                </a:extLst>
              </a:tr>
              <a:tr h="639373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/CPAP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/CPAPpro Covid+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/NIV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/NIV pro Covid+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3149734"/>
                  </a:ext>
                </a:extLst>
              </a:tr>
              <a:tr h="18944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5603879"/>
                  </a:ext>
                </a:extLst>
              </a:tr>
              <a:tr h="18944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3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07" marR="5307" marT="5307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1906508"/>
                  </a:ext>
                </a:extLst>
              </a:tr>
              <a:tr h="18944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5278524"/>
                  </a:ext>
                </a:extLst>
              </a:tr>
              <a:tr h="18944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07" marR="5307" marT="5307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9139751"/>
                  </a:ext>
                </a:extLst>
              </a:tr>
              <a:tr h="1973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2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14701340"/>
                  </a:ext>
                </a:extLst>
              </a:tr>
              <a:tr h="18944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07" marR="5307" marT="5307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4566124"/>
                  </a:ext>
                </a:extLst>
              </a:tr>
              <a:tr h="18944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4136642"/>
                  </a:ext>
                </a:extLst>
              </a:tr>
              <a:tr h="18944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07" marR="5307" marT="5307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9603728"/>
                  </a:ext>
                </a:extLst>
              </a:tr>
              <a:tr h="18944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6368894"/>
                  </a:ext>
                </a:extLst>
              </a:tr>
              <a:tr h="18944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07" marR="5307" marT="5307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8086753"/>
                  </a:ext>
                </a:extLst>
              </a:tr>
              <a:tr h="18944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2005167"/>
                  </a:ext>
                </a:extLst>
              </a:tr>
              <a:tr h="18944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07" marR="5307" marT="5307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0341946"/>
                  </a:ext>
                </a:extLst>
              </a:tr>
              <a:tr h="18944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4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8973295"/>
                  </a:ext>
                </a:extLst>
              </a:tr>
              <a:tr h="213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307" marR="5307" marT="5307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3083951"/>
                  </a:ext>
                </a:extLst>
              </a:tr>
              <a:tr h="2289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829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8</a:t>
                      </a:r>
                    </a:p>
                  </a:txBody>
                  <a:tcPr marL="5307" marR="5307" marT="530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7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4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</a:p>
                  </a:txBody>
                  <a:tcPr marL="5307" marR="5307" marT="5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4837381"/>
                  </a:ext>
                </a:extLst>
              </a:tr>
              <a:tr h="268379"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</a:t>
                      </a:r>
                    </a:p>
                  </a:txBody>
                  <a:tcPr marL="5307" marR="5307" marT="530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7659483"/>
                  </a:ext>
                </a:extLst>
              </a:tr>
              <a:tr h="187673"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64073"/>
                  </a:ext>
                </a:extLst>
              </a:tr>
              <a:tr h="369031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307" marR="5307" marT="530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307" marR="5307" marT="530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307" marR="5307" marT="530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307" marR="5307" marT="530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307" marR="5307" marT="530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307" marR="5307" marT="530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5307" marR="5307" marT="530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13514449"/>
                  </a:ext>
                </a:extLst>
              </a:tr>
              <a:tr h="189444">
                <a:tc gridSpan="3">
                  <a:txBody>
                    <a:bodyPr/>
                    <a:lstStyle/>
                    <a:p>
                      <a:pPr algn="r" fontAlgn="b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5307" marR="5307" marT="530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x</a:t>
                      </a:r>
                    </a:p>
                  </a:txBody>
                  <a:tcPr marL="5307" marR="5307" marT="530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7" marR="5307" marT="530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636873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951254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9" name="TextovéPole 8"/>
          <p:cNvSpPr txBox="1"/>
          <p:nvPr/>
        </p:nvSpPr>
        <p:spPr>
          <a:xfrm>
            <a:off x="7928960" y="2488474"/>
            <a:ext cx="3186215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sazená standardní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lůžka C+ pacienty k 28.5.2021 00:18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27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/>
        </p:nvGraphicFramePr>
        <p:xfrm>
          <a:off x="332819" y="1043715"/>
          <a:ext cx="7998382" cy="5136255"/>
        </p:xfrm>
        <a:graphic>
          <a:graphicData uri="http://schemas.openxmlformats.org/drawingml/2006/table">
            <a:tbl>
              <a:tblPr/>
              <a:tblGrid>
                <a:gridCol w="1940157">
                  <a:extLst>
                    <a:ext uri="{9D8B030D-6E8A-4147-A177-3AD203B41FA5}">
                      <a16:colId xmlns:a16="http://schemas.microsoft.com/office/drawing/2014/main" val="602819967"/>
                    </a:ext>
                  </a:extLst>
                </a:gridCol>
                <a:gridCol w="1087834">
                  <a:extLst>
                    <a:ext uri="{9D8B030D-6E8A-4147-A177-3AD203B41FA5}">
                      <a16:colId xmlns:a16="http://schemas.microsoft.com/office/drawing/2014/main" val="80456275"/>
                    </a:ext>
                  </a:extLst>
                </a:gridCol>
                <a:gridCol w="1031760">
                  <a:extLst>
                    <a:ext uri="{9D8B030D-6E8A-4147-A177-3AD203B41FA5}">
                      <a16:colId xmlns:a16="http://schemas.microsoft.com/office/drawing/2014/main" val="2337030650"/>
                    </a:ext>
                  </a:extLst>
                </a:gridCol>
                <a:gridCol w="1031760">
                  <a:extLst>
                    <a:ext uri="{9D8B030D-6E8A-4147-A177-3AD203B41FA5}">
                      <a16:colId xmlns:a16="http://schemas.microsoft.com/office/drawing/2014/main" val="1614397409"/>
                    </a:ext>
                  </a:extLst>
                </a:gridCol>
                <a:gridCol w="753633">
                  <a:extLst>
                    <a:ext uri="{9D8B030D-6E8A-4147-A177-3AD203B41FA5}">
                      <a16:colId xmlns:a16="http://schemas.microsoft.com/office/drawing/2014/main" val="2704430801"/>
                    </a:ext>
                  </a:extLst>
                </a:gridCol>
                <a:gridCol w="998115">
                  <a:extLst>
                    <a:ext uri="{9D8B030D-6E8A-4147-A177-3AD203B41FA5}">
                      <a16:colId xmlns:a16="http://schemas.microsoft.com/office/drawing/2014/main" val="901902442"/>
                    </a:ext>
                  </a:extLst>
                </a:gridCol>
                <a:gridCol w="1155123">
                  <a:extLst>
                    <a:ext uri="{9D8B030D-6E8A-4147-A177-3AD203B41FA5}">
                      <a16:colId xmlns:a16="http://schemas.microsoft.com/office/drawing/2014/main" val="4016253590"/>
                    </a:ext>
                  </a:extLst>
                </a:gridCol>
              </a:tblGrid>
              <a:tr h="225496">
                <a:tc gridSpan="5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28.5. 2021, 12:30 h</a:t>
                      </a:r>
                    </a:p>
                  </a:txBody>
                  <a:tcPr marL="5461" marR="5461" marT="546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8768615"/>
                  </a:ext>
                </a:extLst>
              </a:tr>
              <a:tr h="186839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75440937"/>
                  </a:ext>
                </a:extLst>
              </a:tr>
              <a:tr h="225496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2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5221606"/>
                  </a:ext>
                </a:extLst>
              </a:tr>
              <a:tr h="652328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standardní s kyslíkem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2795142"/>
                  </a:ext>
                </a:extLst>
              </a:tr>
              <a:tr h="1932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12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1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4872985"/>
                  </a:ext>
                </a:extLst>
              </a:tr>
              <a:tr h="1932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36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1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61" marR="5461" marT="546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121152"/>
                  </a:ext>
                </a:extLst>
              </a:tr>
              <a:tr h="1932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08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5161192"/>
                  </a:ext>
                </a:extLst>
              </a:tr>
              <a:tr h="1932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1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61" marR="5461" marT="546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1826885"/>
                  </a:ext>
                </a:extLst>
              </a:tr>
              <a:tr h="20133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38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7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857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1935791"/>
                  </a:ext>
                </a:extLst>
              </a:tr>
              <a:tr h="1932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7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7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61" marR="5461" marT="546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4603471"/>
                  </a:ext>
                </a:extLst>
              </a:tr>
              <a:tr h="1932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85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7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4057671"/>
                  </a:ext>
                </a:extLst>
              </a:tr>
              <a:tr h="1932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94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3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61" marR="5461" marT="546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028931"/>
                  </a:ext>
                </a:extLst>
              </a:tr>
              <a:tr h="1932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41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7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83855739"/>
                  </a:ext>
                </a:extLst>
              </a:tr>
              <a:tr h="1932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35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61" marR="5461" marT="546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2655035"/>
                  </a:ext>
                </a:extLst>
              </a:tr>
              <a:tr h="1932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77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2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8530392"/>
                  </a:ext>
                </a:extLst>
              </a:tr>
              <a:tr h="1932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61" marR="5461" marT="546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3160018"/>
                  </a:ext>
                </a:extLst>
              </a:tr>
              <a:tr h="1932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44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3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4781023"/>
                  </a:ext>
                </a:extLst>
              </a:tr>
              <a:tr h="21744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9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1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61" marR="5461" marT="546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3751032"/>
                  </a:ext>
                </a:extLst>
              </a:tr>
              <a:tr h="23354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735</a:t>
                      </a:r>
                    </a:p>
                  </a:txBody>
                  <a:tcPr marL="5461" marR="5461" marT="54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49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04</a:t>
                      </a:r>
                    </a:p>
                  </a:txBody>
                  <a:tcPr marL="5461" marR="5461" marT="54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9834744"/>
                  </a:ext>
                </a:extLst>
              </a:tr>
              <a:tr h="273817">
                <a:tc gridSpan="4"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</a:t>
                      </a:r>
                    </a:p>
                  </a:txBody>
                  <a:tcPr marL="5461" marR="5461" marT="546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6311212"/>
                  </a:ext>
                </a:extLst>
              </a:tr>
              <a:tr h="186839"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5426747"/>
                  </a:ext>
                </a:extLst>
              </a:tr>
              <a:tr h="21744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461" marR="5461" marT="546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461" marR="5461" marT="546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461" marR="5461" marT="546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461" marR="5461" marT="546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461" marR="5461" marT="546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461" marR="5461" marT="546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5461" marR="5461" marT="546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8157432"/>
                  </a:ext>
                </a:extLst>
              </a:tr>
              <a:tr h="193282">
                <a:tc gridSpan="3">
                  <a:txBody>
                    <a:bodyPr/>
                    <a:lstStyle/>
                    <a:p>
                      <a:pPr algn="r" fontAlgn="b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x</a:t>
                      </a: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1" marR="5461" marT="546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73574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7854428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97626" y="165100"/>
            <a:ext cx="9379857" cy="908050"/>
          </a:xfrm>
        </p:spPr>
        <p:txBody>
          <a:bodyPr>
            <a:noAutofit/>
          </a:bodyPr>
          <a:lstStyle/>
          <a:p>
            <a:r>
              <a:rPr lang="cs-CZ" sz="2400" dirty="0"/>
              <a:t>NDLP – vývoj obsazenosti C+ lůžek v ČR</a:t>
            </a:r>
          </a:p>
        </p:txBody>
      </p:sp>
      <p:graphicFrame>
        <p:nvGraphicFramePr>
          <p:cNvPr id="3" name="Graf 2">
            <a:extLst>
              <a:ext uri="{FF2B5EF4-FFF2-40B4-BE49-F238E27FC236}">
                <a16:creationId xmlns:a16="http://schemas.microsoft.com/office/drawing/2014/main" id="{00000000-0008-0000-0000-000002000000}"/>
              </a:ext>
            </a:extLst>
          </p:cNvPr>
          <p:cNvGraphicFramePr>
            <a:graphicFrameLocks/>
          </p:cNvGraphicFramePr>
          <p:nvPr/>
        </p:nvGraphicFramePr>
        <p:xfrm>
          <a:off x="1584814" y="1073150"/>
          <a:ext cx="7562850" cy="49815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02737573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4109" y="3683584"/>
            <a:ext cx="11623781" cy="1583741"/>
          </a:xfrm>
        </p:spPr>
        <p:txBody>
          <a:bodyPr>
            <a:normAutofit/>
          </a:bodyPr>
          <a:lstStyle/>
          <a:p>
            <a:r>
              <a:rPr lang="cs-CZ" sz="5200" b="1" dirty="0"/>
              <a:t>Dlouhodobé predikce zátěže nemocnic</a:t>
            </a:r>
          </a:p>
          <a:p>
            <a:r>
              <a:rPr lang="cs-CZ" sz="3000" i="1" dirty="0"/>
              <a:t>Scénáře z 12.5.2021</a:t>
            </a:r>
          </a:p>
        </p:txBody>
      </p:sp>
      <p:sp>
        <p:nvSpPr>
          <p:cNvPr id="4" name="Obdélník 3"/>
          <p:cNvSpPr/>
          <p:nvPr/>
        </p:nvSpPr>
        <p:spPr>
          <a:xfrm>
            <a:off x="661166" y="5107068"/>
            <a:ext cx="1086966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počítají s příznivým dopadem očkování, jsou navrženy dva scénáře s možným 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em uvolnění opatření v květnu.</a:t>
            </a:r>
          </a:p>
        </p:txBody>
      </p:sp>
    </p:spTree>
    <p:extLst>
      <p:ext uri="{BB962C8B-B14F-4D97-AF65-F5344CB8AC3E}">
        <p14:creationId xmlns:p14="http://schemas.microsoft.com/office/powerpoint/2010/main" val="259413811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/>
          <p:cNvSpPr/>
          <p:nvPr/>
        </p:nvSpPr>
        <p:spPr>
          <a:xfrm>
            <a:off x="843341" y="725663"/>
            <a:ext cx="1041810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časný vývoj odpovídá ve všech typech aplikovaných modelů optimistickému scénáři, který předpokládal brždění epidemie posílené o rychlý efekt postupující vakcinace</a:t>
            </a:r>
          </a:p>
        </p:txBody>
      </p:sp>
      <p:sp>
        <p:nvSpPr>
          <p:cNvPr id="12" name="Šipka dolů 11"/>
          <p:cNvSpPr/>
          <p:nvPr/>
        </p:nvSpPr>
        <p:spPr>
          <a:xfrm>
            <a:off x="5204045" y="2366718"/>
            <a:ext cx="1640138" cy="455724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bdélník 12"/>
          <p:cNvSpPr/>
          <p:nvPr/>
        </p:nvSpPr>
        <p:spPr>
          <a:xfrm>
            <a:off x="1186381" y="2963491"/>
            <a:ext cx="9675466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ční modely byly nově rozšířeny i na měsíc červen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tvořeny byly dvě varianty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4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200" marR="0" lvl="0" indent="-4572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cs-CZ" sz="2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račující</a:t>
            </a:r>
            <a:r>
              <a:rPr kumimoji="0" lang="cs-CZ" sz="240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brždění epidemie</a:t>
            </a:r>
            <a:r>
              <a:rPr kumimoji="0" lang="cs-CZ" sz="2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bez projevu rozvolnění v dubnu/květnu, zahrnutí vlivu očkování (rychlý scénář, imunita od první dávky)</a:t>
            </a:r>
          </a:p>
          <a:p>
            <a:pPr marL="457200" marR="0" lvl="0" indent="-4572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cs-CZ" sz="24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73050" marR="0" lvl="0" indent="-2730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. Potenciální dopad rozvolnění v květnu, zahrnutí vlivu očkování (rychlý scénář, imunita od první dávky)</a:t>
            </a:r>
          </a:p>
        </p:txBody>
      </p:sp>
    </p:spTree>
    <p:extLst>
      <p:ext uri="{BB962C8B-B14F-4D97-AF65-F5344CB8AC3E}">
        <p14:creationId xmlns:p14="http://schemas.microsoft.com/office/powerpoint/2010/main" val="139207034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aktuálně hospitalizovaných</a:t>
            </a:r>
            <a:endParaRPr lang="cs-CZ" dirty="0">
              <a:latin typeface="+mn-lt"/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4881953E-570E-4182-9AFA-D9A699C6849D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092092" y="1066423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533651" y="3049018"/>
            <a:ext cx="35958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</a:p>
        </p:txBody>
      </p:sp>
      <p:sp>
        <p:nvSpPr>
          <p:cNvPr id="24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21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182014" y="1501079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vu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dubnu/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2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182013" y="2151217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opad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" name="Přímá spojnice 2"/>
          <p:cNvCxnSpPr/>
          <p:nvPr>
            <p:custDataLst>
              <p:tags r:id="rId4"/>
            </p:custDataLst>
          </p:nvPr>
        </p:nvCxnSpPr>
        <p:spPr>
          <a:xfrm>
            <a:off x="6536817" y="1630677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Přímá spojnice 13"/>
          <p:cNvCxnSpPr/>
          <p:nvPr>
            <p:custDataLst>
              <p:tags r:id="rId5"/>
            </p:custDataLst>
          </p:nvPr>
        </p:nvCxnSpPr>
        <p:spPr>
          <a:xfrm>
            <a:off x="6536817" y="2296871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7182013" y="2822091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chlý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énář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alkuluje s ochranou daného jedince již od první dávky vakcíny. 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8326385" y="4231299"/>
            <a:ext cx="368025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opulaci stále existuje značná část obyvatel vnímavých k infekci a riziko částečného zhoršení vývoje není nulové. Stávající vývoj to nicméně nepotvrzuje a trend poklesu sleduje predikce dle modelu I. </a:t>
            </a:r>
          </a:p>
        </p:txBody>
      </p:sp>
    </p:spTree>
    <p:extLst>
      <p:ext uri="{BB962C8B-B14F-4D97-AF65-F5344CB8AC3E}">
        <p14:creationId xmlns:p14="http://schemas.microsoft.com/office/powerpoint/2010/main" val="110129737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aktuálně hospitalizovaných</a:t>
            </a:r>
            <a:r>
              <a:rPr lang="en-US" u="sng" dirty="0">
                <a:latin typeface="+mn-lt"/>
              </a:rPr>
              <a:t> </a:t>
            </a:r>
            <a:r>
              <a:rPr lang="en-US" u="sng" dirty="0" err="1">
                <a:latin typeface="+mn-lt"/>
              </a:rPr>
              <a:t>na</a:t>
            </a:r>
            <a:r>
              <a:rPr lang="en-US" u="sng" dirty="0">
                <a:latin typeface="+mn-lt"/>
              </a:rPr>
              <a:t> JIP</a:t>
            </a:r>
            <a:endParaRPr lang="cs-CZ" dirty="0"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924783" y="3049018"/>
            <a:ext cx="43781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J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ADB44BF5-DF2B-43BD-A159-972F53E32F46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3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092092" y="1066423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14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182014" y="1501079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vu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dubnu/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182013" y="2151217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opad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6" name="Přímá spojnice 15"/>
          <p:cNvCxnSpPr/>
          <p:nvPr>
            <p:custDataLst>
              <p:tags r:id="rId4"/>
            </p:custDataLst>
          </p:nvPr>
        </p:nvCxnSpPr>
        <p:spPr>
          <a:xfrm>
            <a:off x="6536817" y="1630677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Přímá spojnice 16"/>
          <p:cNvCxnSpPr/>
          <p:nvPr>
            <p:custDataLst>
              <p:tags r:id="rId5"/>
            </p:custDataLst>
          </p:nvPr>
        </p:nvCxnSpPr>
        <p:spPr>
          <a:xfrm>
            <a:off x="6536817" y="2296871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7182013" y="2822091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chlý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énář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alkuluje s ochranou daného jedince již od první dávky vakcíny. </a:t>
            </a:r>
          </a:p>
        </p:txBody>
      </p:sp>
      <p:sp>
        <p:nvSpPr>
          <p:cNvPr id="22" name="TextovéPole 21"/>
          <p:cNvSpPr txBox="1"/>
          <p:nvPr/>
        </p:nvSpPr>
        <p:spPr>
          <a:xfrm>
            <a:off x="8326385" y="4231299"/>
            <a:ext cx="368025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opulaci stále existuje značná část obyvatel vnímavých k infekci a riziko částečného zhoršení vývoje není nulové. Stávající vývoj to nicméně nepotvrzuje a trend poklesu sleduje predikce dle modelu I. </a:t>
            </a:r>
          </a:p>
        </p:txBody>
      </p:sp>
    </p:spTree>
    <p:extLst>
      <p:ext uri="{BB962C8B-B14F-4D97-AF65-F5344CB8AC3E}">
        <p14:creationId xmlns:p14="http://schemas.microsoft.com/office/powerpoint/2010/main" val="93390390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nových hospitalizačních</a:t>
            </a:r>
            <a:r>
              <a:rPr lang="cs-CZ" dirty="0">
                <a:latin typeface="+mn-lt"/>
              </a:rPr>
              <a:t> případů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828607" y="3049018"/>
            <a:ext cx="41857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nových hospitalizačních případů </a:t>
            </a:r>
          </a:p>
        </p:txBody>
      </p:sp>
      <p:sp>
        <p:nvSpPr>
          <p:cNvPr id="15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130BB482-BBA1-4B51-97C3-EC21F9C9ABDD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2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092092" y="1066423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13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182014" y="1501079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vu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dubnu/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6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182013" y="2151217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opad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7" name="Přímá spojnice 16"/>
          <p:cNvCxnSpPr/>
          <p:nvPr>
            <p:custDataLst>
              <p:tags r:id="rId4"/>
            </p:custDataLst>
          </p:nvPr>
        </p:nvCxnSpPr>
        <p:spPr>
          <a:xfrm>
            <a:off x="6536817" y="1630677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Přímá spojnice 18"/>
          <p:cNvCxnSpPr/>
          <p:nvPr>
            <p:custDataLst>
              <p:tags r:id="rId5"/>
            </p:custDataLst>
          </p:nvPr>
        </p:nvCxnSpPr>
        <p:spPr>
          <a:xfrm>
            <a:off x="6536817" y="2296871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7182013" y="2822091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chlý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énář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alkuluje s ochranou daného jedince již od první dávky vakcíny. </a:t>
            </a:r>
          </a:p>
        </p:txBody>
      </p:sp>
      <p:sp>
        <p:nvSpPr>
          <p:cNvPr id="22" name="TextovéPole 21"/>
          <p:cNvSpPr txBox="1"/>
          <p:nvPr/>
        </p:nvSpPr>
        <p:spPr>
          <a:xfrm>
            <a:off x="8326385" y="4231299"/>
            <a:ext cx="368025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opulaci stále existuje značná část obyvatel vnímavých k infekci a riziko částečného zhoršení vývoje není nulové. Stávající vývoj to nicméně nepotvrzuje a trend poklesu sleduje predikce dle modelu I. </a:t>
            </a:r>
          </a:p>
        </p:txBody>
      </p:sp>
    </p:spTree>
    <p:extLst>
      <p:ext uri="{BB962C8B-B14F-4D97-AF65-F5344CB8AC3E}">
        <p14:creationId xmlns:p14="http://schemas.microsoft.com/office/powerpoint/2010/main" val="120142979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zemřelých</a:t>
            </a:r>
            <a:endParaRPr lang="cs-CZ" dirty="0"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712917" y="3049018"/>
            <a:ext cx="19543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zemřelých </a:t>
            </a:r>
          </a:p>
        </p:txBody>
      </p: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66216535-8B7F-43D5-81D9-9F3ED2725AE3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7092092" y="1066423"/>
            <a:ext cx="39764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:</a:t>
            </a:r>
          </a:p>
        </p:txBody>
      </p:sp>
      <p:sp>
        <p:nvSpPr>
          <p:cNvPr id="14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182014" y="1501079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vu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dubnu/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7182013" y="2151217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opad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ě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6" name="Přímá spojnice 15"/>
          <p:cNvCxnSpPr/>
          <p:nvPr>
            <p:custDataLst>
              <p:tags r:id="rId5"/>
            </p:custDataLst>
          </p:nvPr>
        </p:nvCxnSpPr>
        <p:spPr>
          <a:xfrm>
            <a:off x="6536817" y="1630677"/>
            <a:ext cx="509505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Přímá spojnice 18"/>
          <p:cNvCxnSpPr/>
          <p:nvPr>
            <p:custDataLst>
              <p:tags r:id="rId6"/>
            </p:custDataLst>
          </p:nvPr>
        </p:nvCxnSpPr>
        <p:spPr>
          <a:xfrm>
            <a:off x="6536817" y="2296871"/>
            <a:ext cx="509505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7182013" y="2822091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chlý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énář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alkuluje s ochranou daného jedince již od první dávky vakcíny. </a:t>
            </a:r>
          </a:p>
        </p:txBody>
      </p:sp>
      <p:sp>
        <p:nvSpPr>
          <p:cNvPr id="22" name="TextovéPole 21"/>
          <p:cNvSpPr txBox="1"/>
          <p:nvPr/>
        </p:nvSpPr>
        <p:spPr>
          <a:xfrm>
            <a:off x="8326385" y="4231299"/>
            <a:ext cx="368025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opulaci stále existuje značná část obyvatel vnímavých k infekci a riziko částečného zhoršení vývoje není nulové. Stávající vývoj to nicméně nepotvrzuje a trend poklesu sleduje predikce dle modelu I. </a:t>
            </a:r>
          </a:p>
        </p:txBody>
      </p:sp>
    </p:spTree>
    <p:extLst>
      <p:ext uri="{BB962C8B-B14F-4D97-AF65-F5344CB8AC3E}">
        <p14:creationId xmlns:p14="http://schemas.microsoft.com/office/powerpoint/2010/main" val="344008638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ECE4ECE2-F73E-4C2F-A1CE-2E69D1EAEC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9234" y="1254755"/>
            <a:ext cx="9002268" cy="3906012"/>
          </a:xfrm>
          <a:prstGeom prst="rect">
            <a:avLst/>
          </a:prstGeom>
        </p:spPr>
      </p:pic>
      <p:sp>
        <p:nvSpPr>
          <p:cNvPr id="2" name="Nadpis 1">
            <a:extLst>
              <a:ext uri="{FF2B5EF4-FFF2-40B4-BE49-F238E27FC236}">
                <a16:creationId xmlns:a16="http://schemas.microsoft.com/office/drawing/2014/main" id="{FA62F1D2-ED3B-4B05-8AB5-7ACCECEFF2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099" y="2"/>
            <a:ext cx="7976680" cy="576000"/>
          </a:xfrm>
        </p:spPr>
        <p:txBody>
          <a:bodyPr/>
          <a:lstStyle/>
          <a:p>
            <a:r>
              <a:rPr lang="cs-CZ" sz="1800" dirty="0"/>
              <a:t>Zpomalení šíření infekce v důsledku snížení počtu vnímavých jedinců</a:t>
            </a:r>
          </a:p>
        </p:txBody>
      </p:sp>
      <p:graphicFrame>
        <p:nvGraphicFramePr>
          <p:cNvPr id="5" name="Tabulka 10">
            <a:extLst>
              <a:ext uri="{FF2B5EF4-FFF2-40B4-BE49-F238E27FC236}">
                <a16:creationId xmlns:a16="http://schemas.microsoft.com/office/drawing/2014/main" id="{15DD0D57-A810-45FC-8E29-0146AAE4DC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3621157"/>
              </p:ext>
            </p:extLst>
          </p:nvPr>
        </p:nvGraphicFramePr>
        <p:xfrm>
          <a:off x="1506886" y="4527166"/>
          <a:ext cx="8287968" cy="2750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0664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690664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690664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690664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690664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690664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690664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690664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690664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690664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690664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  <a:gridCol w="690664">
                  <a:extLst>
                    <a:ext uri="{9D8B030D-6E8A-4147-A177-3AD203B41FA5}">
                      <a16:colId xmlns:a16="http://schemas.microsoft.com/office/drawing/2014/main" val="2413365606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červ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904F1CD9-2EB1-4F23-ABD5-6313403E78F1}"/>
              </a:ext>
            </a:extLst>
          </p:cNvPr>
          <p:cNvSpPr txBox="1"/>
          <p:nvPr/>
        </p:nvSpPr>
        <p:spPr>
          <a:xfrm>
            <a:off x="7966771" y="4842975"/>
            <a:ext cx="34848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kcinovaní včetně v minulosti infikovaných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861F783C-7F71-4433-AE26-459A616AFA15}"/>
              </a:ext>
            </a:extLst>
          </p:cNvPr>
          <p:cNvSpPr txBox="1"/>
          <p:nvPr/>
        </p:nvSpPr>
        <p:spPr>
          <a:xfrm>
            <a:off x="943889" y="616795"/>
            <a:ext cx="9357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ová predikce stavů v populaci v čase</a:t>
            </a:r>
            <a:r>
              <a:rPr kumimoji="0" lang="cs-CZ" sz="18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alkulující s vysokým počtem osob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 prodělanou infekcí a s rychlým postupem vakcinace (optimistická projekce – viz příloha zprávy)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ovéPole 8"/>
          <p:cNvSpPr txBox="1"/>
          <p:nvPr/>
        </p:nvSpPr>
        <p:spPr>
          <a:xfrm>
            <a:off x="715033" y="5299810"/>
            <a:ext cx="1052803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I při optimistických scénářích modelů je nutné stále počítat s cca 30% podílem populace, která je vnímavá k infekci. Riziko částečného zhoršení vývoje tedy stále není nulové. Stávající vývoj to nicméně nepotvrzuje a trend poklesu epidemie neindikuje žádné zhoršení. Pozitivní zprávou rovněž je, že postupující vakcinace snižuje počet citlivých osob, nyní již i v relativně mladých věkových kategoriích. </a:t>
            </a:r>
          </a:p>
        </p:txBody>
      </p:sp>
    </p:spTree>
    <p:extLst>
      <p:ext uri="{BB962C8B-B14F-4D97-AF65-F5344CB8AC3E}">
        <p14:creationId xmlns:p14="http://schemas.microsoft.com/office/powerpoint/2010/main" val="23965131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57031135"/>
              </p:ext>
            </p:extLst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2400" dirty="0">
                <a:latin typeface="+mj-lt"/>
              </a:rPr>
              <a:t>Predikce ve čtyřech scénářích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399F9D63-C378-4018-B97A-C6FF1B38BBF2}"/>
              </a:ext>
            </a:extLst>
          </p:cNvPr>
          <p:cNvSpPr txBox="1"/>
          <p:nvPr/>
        </p:nvSpPr>
        <p:spPr>
          <a:xfrm>
            <a:off x="200673" y="1458954"/>
            <a:ext cx="34626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ové </a:t>
            </a:r>
            <a:r>
              <a:rPr lang="cs-CZ" sz="2400" b="1" dirty="0">
                <a:solidFill>
                  <a:prstClr val="black"/>
                </a:solidFill>
                <a:latin typeface="Calibri" panose="020F0502020204030204"/>
              </a:rPr>
              <a:t>s</a:t>
            </a:r>
            <a:r>
              <a:rPr kumimoji="0" lang="cs-CZ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énář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ývoje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9B8FCCD-AB42-495D-8900-E0EDAF4D3695}"/>
              </a:ext>
            </a:extLst>
          </p:cNvPr>
          <p:cNvSpPr txBox="1"/>
          <p:nvPr/>
        </p:nvSpPr>
        <p:spPr>
          <a:xfrm>
            <a:off x="4375026" y="821942"/>
            <a:ext cx="4061875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ý scénář, R = 1,10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915432FB-02C6-4A48-823E-AAFFD38F04CD}"/>
              </a:ext>
            </a:extLst>
          </p:cNvPr>
          <p:cNvSpPr txBox="1"/>
          <p:nvPr/>
        </p:nvSpPr>
        <p:spPr>
          <a:xfrm>
            <a:off x="4375026" y="2130847"/>
            <a:ext cx="4061875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významného zpomalení (R = 0,75)</a:t>
            </a:r>
          </a:p>
        </p:txBody>
      </p:sp>
      <p:cxnSp>
        <p:nvCxnSpPr>
          <p:cNvPr id="10" name="Přímá spojnice se šipkou 9">
            <a:extLst>
              <a:ext uri="{FF2B5EF4-FFF2-40B4-BE49-F238E27FC236}">
                <a16:creationId xmlns:a16="http://schemas.microsoft.com/office/drawing/2014/main" id="{2FBBF0DE-751C-4A8D-9688-745F518DEA63}"/>
              </a:ext>
            </a:extLst>
          </p:cNvPr>
          <p:cNvCxnSpPr/>
          <p:nvPr/>
        </p:nvCxnSpPr>
        <p:spPr>
          <a:xfrm flipV="1">
            <a:off x="3736851" y="1088373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427BD7B2-178E-45A0-B634-921C0C8A629F}"/>
              </a:ext>
            </a:extLst>
          </p:cNvPr>
          <p:cNvCxnSpPr/>
          <p:nvPr/>
        </p:nvCxnSpPr>
        <p:spPr>
          <a:xfrm>
            <a:off x="3736851" y="1727288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6">
            <a:extLst>
              <a:ext uri="{FF2B5EF4-FFF2-40B4-BE49-F238E27FC236}">
                <a16:creationId xmlns:a16="http://schemas.microsoft.com/office/drawing/2014/main" id="{69CEF138-18A8-4271-9FEF-402DB7C25B86}"/>
              </a:ext>
            </a:extLst>
          </p:cNvPr>
          <p:cNvSpPr txBox="1"/>
          <p:nvPr/>
        </p:nvSpPr>
        <p:spPr>
          <a:xfrm>
            <a:off x="89808" y="286780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4375026" y="3147771"/>
            <a:ext cx="31357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1477657" y="3507078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1756838" y="3455548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dirty="0">
                <a:solidFill>
                  <a:prstClr val="black"/>
                </a:solidFill>
                <a:latin typeface="Calibri" panose="020F0502020204030204"/>
              </a:rPr>
              <a:t>Reálná data z IS IN</a:t>
            </a:r>
            <a:endParaRPr lang="cs-CZ" sz="110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4072790" y="3316032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4367535" y="3386217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5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4072790" y="3539339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095375A6-BA75-44A5-A84A-36A5A097F6F7}"/>
              </a:ext>
            </a:extLst>
          </p:cNvPr>
          <p:cNvSpPr txBox="1"/>
          <p:nvPr/>
        </p:nvSpPr>
        <p:spPr>
          <a:xfrm>
            <a:off x="4375392" y="3611437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</a:t>
            </a: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0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85</a:t>
            </a:r>
          </a:p>
        </p:txBody>
      </p:sp>
      <p:cxnSp>
        <p:nvCxnSpPr>
          <p:cNvPr id="23" name="Přímá spojnice 22">
            <a:extLst>
              <a:ext uri="{FF2B5EF4-FFF2-40B4-BE49-F238E27FC236}">
                <a16:creationId xmlns:a16="http://schemas.microsoft.com/office/drawing/2014/main" id="{AB76497E-F494-41CE-B6CE-8CEE02B36A8F}"/>
              </a:ext>
            </a:extLst>
          </p:cNvPr>
          <p:cNvCxnSpPr>
            <a:cxnSpLocks/>
          </p:cNvCxnSpPr>
          <p:nvPr/>
        </p:nvCxnSpPr>
        <p:spPr>
          <a:xfrm>
            <a:off x="4072790" y="3762646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4072790" y="3985952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66CCB7E5-B893-4905-A783-B3A264BEFB90}"/>
              </a:ext>
            </a:extLst>
          </p:cNvPr>
          <p:cNvSpPr txBox="1"/>
          <p:nvPr/>
        </p:nvSpPr>
        <p:spPr>
          <a:xfrm>
            <a:off x="9969686" y="2985987"/>
            <a:ext cx="1544387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. 6. 2021</a:t>
            </a:r>
          </a:p>
          <a:p>
            <a:pPr lvl="0" algn="r">
              <a:defRPr/>
            </a:pPr>
            <a:r>
              <a:rPr lang="cs-CZ" sz="1200" dirty="0">
                <a:solidFill>
                  <a:srgbClr val="FF0000"/>
                </a:solidFill>
                <a:latin typeface="Calibri" panose="020F0502020204030204"/>
              </a:rPr>
              <a:t>6 378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ch</a:t>
            </a:r>
          </a:p>
          <a:p>
            <a:pPr lvl="0" algn="r">
              <a:defRPr/>
            </a:pPr>
            <a:r>
              <a:rPr lang="cs-CZ" sz="1200" dirty="0">
                <a:solidFill>
                  <a:srgbClr val="FF9900"/>
                </a:solidFill>
                <a:latin typeface="Calibri" panose="020F0502020204030204"/>
              </a:rPr>
              <a:t>2 134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ch</a:t>
            </a:r>
          </a:p>
          <a:p>
            <a:pPr lvl="0" algn="r">
              <a:defRPr/>
            </a:pPr>
            <a:r>
              <a:rPr lang="cs-CZ" sz="1200" dirty="0">
                <a:solidFill>
                  <a:srgbClr val="0070C0"/>
                </a:solidFill>
                <a:latin typeface="Calibri" panose="020F0502020204030204"/>
              </a:rPr>
              <a:t>954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ch</a:t>
            </a:r>
          </a:p>
          <a:p>
            <a:pPr lvl="0" algn="r">
              <a:defRPr/>
            </a:pPr>
            <a:r>
              <a:rPr lang="cs-CZ" sz="1200" dirty="0">
                <a:solidFill>
                  <a:srgbClr val="00B050"/>
                </a:solidFill>
                <a:latin typeface="Calibri" panose="020F0502020204030204"/>
              </a:rPr>
              <a:t>405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ch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4367535" y="3836656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27. 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4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)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32A18E1-478B-49B3-B19F-744DF92D3F6C}"/>
              </a:ext>
            </a:extLst>
          </p:cNvPr>
          <p:cNvSpPr txBox="1"/>
          <p:nvPr/>
        </p:nvSpPr>
        <p:spPr>
          <a:xfrm>
            <a:off x="8236228" y="3705117"/>
            <a:ext cx="1544387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15. 5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</a:t>
            </a:r>
          </a:p>
          <a:p>
            <a:pPr lvl="0" algn="r">
              <a:defRPr/>
            </a:pPr>
            <a:r>
              <a:rPr lang="cs-CZ" sz="1200" dirty="0">
                <a:solidFill>
                  <a:srgbClr val="FF0000"/>
                </a:solidFill>
                <a:latin typeface="Calibri" panose="020F0502020204030204"/>
              </a:rPr>
              <a:t>4 300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ch</a:t>
            </a:r>
          </a:p>
          <a:p>
            <a:pPr lvl="0" algn="r">
              <a:defRPr/>
            </a:pPr>
            <a:r>
              <a:rPr lang="cs-CZ" sz="1200" dirty="0">
                <a:solidFill>
                  <a:srgbClr val="FF9900"/>
                </a:solidFill>
                <a:latin typeface="Calibri" panose="020F0502020204030204"/>
              </a:rPr>
              <a:t>2 535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ch</a:t>
            </a:r>
          </a:p>
          <a:p>
            <a:pPr lvl="0" algn="r">
              <a:defRPr/>
            </a:pPr>
            <a:r>
              <a:rPr lang="cs-CZ" sz="1200" dirty="0">
                <a:solidFill>
                  <a:srgbClr val="0070C0"/>
                </a:solidFill>
                <a:latin typeface="Calibri" panose="020F0502020204030204"/>
              </a:rPr>
              <a:t>1 709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ch</a:t>
            </a:r>
          </a:p>
          <a:p>
            <a:pPr lvl="0" algn="r">
              <a:defRPr/>
            </a:pPr>
            <a:r>
              <a:rPr lang="cs-CZ" sz="1200" dirty="0">
                <a:solidFill>
                  <a:srgbClr val="00B050"/>
                </a:solidFill>
                <a:latin typeface="Calibri" panose="020F0502020204030204"/>
              </a:rPr>
              <a:t>1 107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ch</a:t>
            </a:r>
          </a:p>
        </p:txBody>
      </p:sp>
      <p:sp>
        <p:nvSpPr>
          <p:cNvPr id="3" name="TextovéPole 2"/>
          <p:cNvSpPr txBox="1"/>
          <p:nvPr/>
        </p:nvSpPr>
        <p:spPr>
          <a:xfrm>
            <a:off x="5170558" y="1227415"/>
            <a:ext cx="653268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 smtClean="0"/>
              <a:t>Scénáře budoucího vývoje byly nastaveny v souladu v různými variantami modelů SEIR pro dlouhodobé predikce. Zde prezentované krátkodobé projekce scénářů předpokládaly k 27.4. čtyři varianty vývoje dle hodnoty reprodukčního čísla, od R = 0,75 až po rizikový model růstu při R = 1,1. Reálná data potvrzují zpomalování epidemie při R v intervalu 0,7 – 0,8. </a:t>
            </a:r>
            <a:endParaRPr lang="cs-CZ" sz="1200" dirty="0"/>
          </a:p>
        </p:txBody>
      </p:sp>
    </p:spTree>
    <p:extLst>
      <p:ext uri="{BB962C8B-B14F-4D97-AF65-F5344CB8AC3E}">
        <p14:creationId xmlns:p14="http://schemas.microsoft.com/office/powerpoint/2010/main" val="163696286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693109"/>
            <a:ext cx="11905307" cy="2140532"/>
          </a:xfrm>
        </p:spPr>
        <p:txBody>
          <a:bodyPr>
            <a:normAutofit/>
          </a:bodyPr>
          <a:lstStyle/>
          <a:p>
            <a:r>
              <a:rPr lang="cs-CZ" sz="5200" b="1" i="1" dirty="0"/>
              <a:t>Příloha </a:t>
            </a:r>
          </a:p>
          <a:p>
            <a:r>
              <a:rPr lang="cs-CZ" sz="5200" b="1" i="1" dirty="0"/>
              <a:t>Projekce počtu očkovaných </a:t>
            </a:r>
            <a:r>
              <a:rPr lang="en-US" sz="5200" b="1" i="1" dirty="0"/>
              <a:t>z 11.</a:t>
            </a:r>
            <a:r>
              <a:rPr lang="cs-CZ" sz="5200" b="1" i="1" dirty="0"/>
              <a:t> </a:t>
            </a:r>
            <a:r>
              <a:rPr lang="en-US" sz="5200" b="1" i="1" dirty="0"/>
              <a:t>5.</a:t>
            </a:r>
            <a:r>
              <a:rPr lang="cs-CZ" sz="5200" b="1" i="1" dirty="0"/>
              <a:t> </a:t>
            </a:r>
            <a:r>
              <a:rPr lang="en-US" sz="5200" b="1" i="1" dirty="0"/>
              <a:t>2021</a:t>
            </a:r>
            <a:endParaRPr lang="cs-CZ" sz="5200" i="1" dirty="0"/>
          </a:p>
        </p:txBody>
      </p:sp>
    </p:spTree>
    <p:extLst>
      <p:ext uri="{BB962C8B-B14F-4D97-AF65-F5344CB8AC3E}">
        <p14:creationId xmlns:p14="http://schemas.microsoft.com/office/powerpoint/2010/main" val="106507828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sah 1">
            <a:extLst>
              <a:ext uri="{FF2B5EF4-FFF2-40B4-BE49-F238E27FC236}">
                <a16:creationId xmlns:a16="http://schemas.microsoft.com/office/drawing/2014/main" id="{C4213C18-6625-42DF-887C-CAC9A8BE78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7305" y="2177590"/>
            <a:ext cx="11487705" cy="4479009"/>
          </a:xfrm>
        </p:spPr>
        <p:txBody>
          <a:bodyPr>
            <a:normAutofit fontScale="92500" lnSpcReduction="20000"/>
          </a:bodyPr>
          <a:lstStyle/>
          <a:p>
            <a:r>
              <a:rPr lang="cs-CZ" dirty="0"/>
              <a:t>Hodnoty do </a:t>
            </a:r>
            <a:r>
              <a:rPr lang="en-US" dirty="0"/>
              <a:t>10.5</a:t>
            </a:r>
            <a:r>
              <a:rPr lang="cs-CZ" dirty="0"/>
              <a:t>.2021 jsou převzaty z reálného vývoje očkování dle záznamů ISIN</a:t>
            </a:r>
          </a:p>
          <a:p>
            <a:r>
              <a:rPr lang="cs-CZ" dirty="0"/>
              <a:t>Ze záznamu ISIN je pro projekce převzata průměrná věkově specifická denní míra (denní podíl proočkované populace) za </a:t>
            </a:r>
            <a:r>
              <a:rPr lang="en-US" dirty="0" err="1"/>
              <a:t>prvn</a:t>
            </a:r>
            <a:r>
              <a:rPr lang="cs-CZ" dirty="0"/>
              <a:t>í květnovou dekádu, </a:t>
            </a:r>
          </a:p>
          <a:p>
            <a:pPr lvl="1"/>
            <a:r>
              <a:rPr lang="cs-CZ" dirty="0"/>
              <a:t>pro věkovou skupinu 45-54 je prospektivně od května uvažována denní míra věkové skupiny 55-59 let (očkování nově otevřeno pro tuto věkovou skupinu), pro věkovou skupinu 15-44 je od června uvažována stejná denní míra (potenciální předpoklad rozšíření prioritních skupin)</a:t>
            </a:r>
          </a:p>
          <a:p>
            <a:pPr lvl="1"/>
            <a:r>
              <a:rPr lang="cs-CZ" dirty="0"/>
              <a:t>dále je manuálně zvolen koeficient zrychlení pro květen a červen, tak aby ve výsledku nebyl překročen předpokládaný počet dodaných dávek, celkem přibližně 3 miliony v květnu a 3,7 milionů v květnu, a maximální denní kapacita </a:t>
            </a:r>
            <a:r>
              <a:rPr lang="en-US" dirty="0"/>
              <a:t>pro </a:t>
            </a:r>
            <a:r>
              <a:rPr lang="en-US" dirty="0" err="1"/>
              <a:t>vakc</a:t>
            </a:r>
            <a:r>
              <a:rPr lang="cs-CZ" dirty="0" err="1"/>
              <a:t>íny</a:t>
            </a:r>
            <a:r>
              <a:rPr lang="cs-CZ" dirty="0"/>
              <a:t> </a:t>
            </a:r>
            <a:r>
              <a:rPr lang="cs-CZ" dirty="0" err="1"/>
              <a:t>Comirnaty</a:t>
            </a:r>
            <a:r>
              <a:rPr lang="cs-CZ" dirty="0"/>
              <a:t> a Moderna (uvažována 1</a:t>
            </a:r>
            <a:r>
              <a:rPr lang="en-US" dirty="0"/>
              <a:t>2</a:t>
            </a:r>
            <a:r>
              <a:rPr lang="cs-CZ" dirty="0"/>
              <a:t>0 tisíc aplikací)</a:t>
            </a:r>
          </a:p>
          <a:p>
            <a:r>
              <a:rPr lang="cs-CZ" dirty="0"/>
              <a:t>Projekce předpokládá ochotu k očkování věkových skupin ve výši 80%, po dosažení tohoto počtu nové očkování v dané skupině končí</a:t>
            </a:r>
          </a:p>
          <a:p>
            <a:r>
              <a:rPr lang="cs-CZ" dirty="0"/>
              <a:t>Pro druhou dávku je uvažován časový odstup 42 dní po první dávce u vakcín </a:t>
            </a:r>
            <a:r>
              <a:rPr lang="cs-CZ" dirty="0" err="1"/>
              <a:t>Comirnaty</a:t>
            </a:r>
            <a:r>
              <a:rPr lang="cs-CZ" dirty="0"/>
              <a:t> a Moderna, 91 dní u vakcíny </a:t>
            </a:r>
            <a:r>
              <a:rPr lang="cs-CZ" dirty="0" err="1"/>
              <a:t>Vaxzevria</a:t>
            </a:r>
            <a:r>
              <a:rPr lang="cs-CZ" dirty="0"/>
              <a:t> (předpokládá se 100% ochota k absolvování druhé dávky)</a:t>
            </a:r>
          </a:p>
        </p:txBody>
      </p:sp>
      <p:sp>
        <p:nvSpPr>
          <p:cNvPr id="3" name="Nadpis 2">
            <a:extLst>
              <a:ext uri="{FF2B5EF4-FFF2-40B4-BE49-F238E27FC236}">
                <a16:creationId xmlns:a16="http://schemas.microsoft.com/office/drawing/2014/main" id="{36A0D2A5-5F1C-4E21-91A5-1957DD0F20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b="1" dirty="0">
                <a:latin typeface="Arial" panose="020B0604020202020204" pitchFamily="34" charset="0"/>
                <a:cs typeface="Arial" panose="020B0604020202020204" pitchFamily="34" charset="0"/>
              </a:rPr>
              <a:t>Předpoklady: </a:t>
            </a:r>
            <a:br>
              <a:rPr lang="cs-CZ" sz="28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2800" b="1" dirty="0">
                <a:latin typeface="Arial" panose="020B0604020202020204" pitchFamily="34" charset="0"/>
                <a:cs typeface="Arial" panose="020B0604020202020204" pitchFamily="34" charset="0"/>
              </a:rPr>
              <a:t>projekce počtu vakcinovaných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267305" y="1541248"/>
            <a:ext cx="1174579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b="1" dirty="0">
                <a:solidFill>
                  <a:srgbClr val="C00000"/>
                </a:solidFill>
              </a:rPr>
              <a:t>Předpoklady projekce jsou velmi optimistické a vedou k maximálním dosažitelným hodnotám </a:t>
            </a:r>
            <a:r>
              <a:rPr lang="cs-CZ" sz="2000" b="1" dirty="0" err="1">
                <a:solidFill>
                  <a:srgbClr val="C00000"/>
                </a:solidFill>
              </a:rPr>
              <a:t>proočkovanosti</a:t>
            </a:r>
            <a:r>
              <a:rPr lang="cs-CZ" sz="2000" b="1" dirty="0">
                <a:solidFill>
                  <a:srgbClr val="C00000"/>
                </a:solidFill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27085594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2">
            <a:extLst>
              <a:ext uri="{FF2B5EF4-FFF2-40B4-BE49-F238E27FC236}">
                <a16:creationId xmlns:a16="http://schemas.microsoft.com/office/drawing/2014/main" id="{B936E44B-4B50-4267-B0F0-FFEDEF3CCE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13706" cy="576000"/>
          </a:xfrm>
        </p:spPr>
        <p:txBody>
          <a:bodyPr/>
          <a:lstStyle/>
          <a:p>
            <a:r>
              <a:rPr lang="cs-CZ" sz="2800" b="1" dirty="0">
                <a:latin typeface="Arial" panose="020B0604020202020204" pitchFamily="34" charset="0"/>
                <a:cs typeface="Arial" panose="020B0604020202020204" pitchFamily="34" charset="0"/>
              </a:rPr>
              <a:t>Potenciální projekce: absolutně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BD7170F3-7BA1-4C80-9CA6-1E8C39CF2234}"/>
              </a:ext>
            </a:extLst>
          </p:cNvPr>
          <p:cNvSpPr txBox="1"/>
          <p:nvPr/>
        </p:nvSpPr>
        <p:spPr>
          <a:xfrm>
            <a:off x="842913" y="611167"/>
            <a:ext cx="3195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h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jeno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- celkem 5 815 000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C2393E35-7B52-4774-A997-E553FA19C744}"/>
              </a:ext>
            </a:extLst>
          </p:cNvPr>
          <p:cNvGraphicFramePr/>
          <p:nvPr/>
        </p:nvGraphicFramePr>
        <p:xfrm>
          <a:off x="214605" y="858495"/>
          <a:ext cx="11853664" cy="27229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AA5BD7ED-EC5A-4AAB-BAC1-03B5CAAD62C3}"/>
              </a:ext>
            </a:extLst>
          </p:cNvPr>
          <p:cNvSpPr txBox="1"/>
          <p:nvPr/>
        </p:nvSpPr>
        <p:spPr>
          <a:xfrm>
            <a:off x="842913" y="3773467"/>
            <a:ext cx="3195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končeno - celkem 4 181 000</a:t>
            </a:r>
          </a:p>
        </p:txBody>
      </p:sp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11E1EDB0-C535-4C8B-9E6A-3ABAD93DAC0E}"/>
              </a:ext>
            </a:extLst>
          </p:cNvPr>
          <p:cNvGraphicFramePr/>
          <p:nvPr/>
        </p:nvGraphicFramePr>
        <p:xfrm>
          <a:off x="214605" y="4020795"/>
          <a:ext cx="11853664" cy="27229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67061E54-8366-46C9-8738-4DC1D224457F}"/>
              </a:ext>
            </a:extLst>
          </p:cNvPr>
          <p:cNvCxnSpPr/>
          <p:nvPr/>
        </p:nvCxnSpPr>
        <p:spPr>
          <a:xfrm>
            <a:off x="723900" y="1724025"/>
            <a:ext cx="10448925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Přímá spojnice 13">
            <a:extLst>
              <a:ext uri="{FF2B5EF4-FFF2-40B4-BE49-F238E27FC236}">
                <a16:creationId xmlns:a16="http://schemas.microsoft.com/office/drawing/2014/main" id="{C0408760-3E0C-4F89-92D3-026AF00123AB}"/>
              </a:ext>
            </a:extLst>
          </p:cNvPr>
          <p:cNvCxnSpPr/>
          <p:nvPr/>
        </p:nvCxnSpPr>
        <p:spPr>
          <a:xfrm>
            <a:off x="723900" y="4895850"/>
            <a:ext cx="10448925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ovéPole 15"/>
          <p:cNvSpPr txBox="1"/>
          <p:nvPr/>
        </p:nvSpPr>
        <p:spPr>
          <a:xfrm>
            <a:off x="780846" y="907809"/>
            <a:ext cx="54723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Předpoklady projekce jsou velmi optimistické a vedou </a:t>
            </a:r>
          </a:p>
          <a:p>
            <a:r>
              <a:rPr lang="cs-CZ" sz="1600" dirty="0"/>
              <a:t>k maximálním dosažitelným hodnotám </a:t>
            </a:r>
            <a:r>
              <a:rPr lang="cs-CZ" sz="1600" dirty="0" err="1"/>
              <a:t>proočkovanosti</a:t>
            </a:r>
            <a:r>
              <a:rPr lang="cs-CZ" sz="1600" dirty="0"/>
              <a:t>  </a:t>
            </a:r>
          </a:p>
        </p:txBody>
      </p:sp>
      <p:sp>
        <p:nvSpPr>
          <p:cNvPr id="17" name="TextovéPole 16"/>
          <p:cNvSpPr txBox="1"/>
          <p:nvPr/>
        </p:nvSpPr>
        <p:spPr>
          <a:xfrm>
            <a:off x="780846" y="4123469"/>
            <a:ext cx="54723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Předpoklady projekce jsou velmi optimistické a vedou </a:t>
            </a:r>
          </a:p>
          <a:p>
            <a:r>
              <a:rPr lang="cs-CZ" sz="1600" dirty="0"/>
              <a:t>k maximálním dosažitelným hodnotám </a:t>
            </a:r>
            <a:r>
              <a:rPr lang="cs-CZ" sz="1600" dirty="0" err="1"/>
              <a:t>proočkovanosti</a:t>
            </a:r>
            <a:r>
              <a:rPr lang="cs-CZ" sz="1600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24450875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5019C24B-F919-4ACA-BB8F-76275D309064}"/>
              </a:ext>
            </a:extLst>
          </p:cNvPr>
          <p:cNvGraphicFramePr/>
          <p:nvPr/>
        </p:nvGraphicFramePr>
        <p:xfrm>
          <a:off x="214605" y="4020795"/>
          <a:ext cx="11853664" cy="27229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B936E44B-4B50-4267-B0F0-FFEDEF3CCE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13706" cy="576000"/>
          </a:xfrm>
        </p:spPr>
        <p:txBody>
          <a:bodyPr/>
          <a:lstStyle/>
          <a:p>
            <a:r>
              <a:rPr lang="cs-CZ" sz="2800" dirty="0"/>
              <a:t>Potenciální projekce: proočkovanost</a:t>
            </a:r>
            <a:endParaRPr lang="cs-CZ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BD7170F3-7BA1-4C80-9CA6-1E8C39CF2234}"/>
              </a:ext>
            </a:extLst>
          </p:cNvPr>
          <p:cNvSpPr txBox="1"/>
          <p:nvPr/>
        </p:nvSpPr>
        <p:spPr>
          <a:xfrm>
            <a:off x="842913" y="611167"/>
            <a:ext cx="3195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hájeno - celkem 65 %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C2393E35-7B52-4774-A997-E553FA19C744}"/>
              </a:ext>
            </a:extLst>
          </p:cNvPr>
          <p:cNvGraphicFramePr/>
          <p:nvPr/>
        </p:nvGraphicFramePr>
        <p:xfrm>
          <a:off x="214605" y="858495"/>
          <a:ext cx="11853664" cy="27229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AA5BD7ED-EC5A-4AAB-BAC1-03B5CAAD62C3}"/>
              </a:ext>
            </a:extLst>
          </p:cNvPr>
          <p:cNvSpPr txBox="1"/>
          <p:nvPr/>
        </p:nvSpPr>
        <p:spPr>
          <a:xfrm>
            <a:off x="842913" y="3773467"/>
            <a:ext cx="3195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končeno - celkem 47 %</a:t>
            </a:r>
          </a:p>
        </p:txBody>
      </p:sp>
      <p:sp>
        <p:nvSpPr>
          <p:cNvPr id="13" name="TextovéPole 12"/>
          <p:cNvSpPr txBox="1"/>
          <p:nvPr/>
        </p:nvSpPr>
        <p:spPr>
          <a:xfrm>
            <a:off x="780846" y="907809"/>
            <a:ext cx="54723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Předpoklady projekce jsou velmi optimistické a vedou </a:t>
            </a:r>
          </a:p>
          <a:p>
            <a:r>
              <a:rPr lang="cs-CZ" sz="1600" dirty="0"/>
              <a:t>k maximálním dosažitelným hodnotám </a:t>
            </a:r>
            <a:r>
              <a:rPr lang="cs-CZ" sz="1600" dirty="0" err="1"/>
              <a:t>proočkovanosti</a:t>
            </a:r>
            <a:r>
              <a:rPr lang="cs-CZ" sz="1600" dirty="0"/>
              <a:t>  </a:t>
            </a:r>
          </a:p>
        </p:txBody>
      </p:sp>
      <p:sp>
        <p:nvSpPr>
          <p:cNvPr id="14" name="TextovéPole 13"/>
          <p:cNvSpPr txBox="1"/>
          <p:nvPr/>
        </p:nvSpPr>
        <p:spPr>
          <a:xfrm>
            <a:off x="780846" y="4123469"/>
            <a:ext cx="54723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Předpoklady projekce jsou velmi optimistické a vedou </a:t>
            </a:r>
          </a:p>
          <a:p>
            <a:r>
              <a:rPr lang="cs-CZ" sz="1600" dirty="0"/>
              <a:t>k maximálním dosažitelným hodnotám </a:t>
            </a:r>
            <a:r>
              <a:rPr lang="cs-CZ" sz="1600" dirty="0" err="1"/>
              <a:t>proočkovanosti</a:t>
            </a:r>
            <a:r>
              <a:rPr lang="cs-CZ" sz="1600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404772469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2">
            <a:extLst>
              <a:ext uri="{FF2B5EF4-FFF2-40B4-BE49-F238E27FC236}">
                <a16:creationId xmlns:a16="http://schemas.microsoft.com/office/drawing/2014/main" id="{B936E44B-4B50-4267-B0F0-FFEDEF3CCE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576256" cy="576000"/>
          </a:xfrm>
        </p:spPr>
        <p:txBody>
          <a:bodyPr/>
          <a:lstStyle/>
          <a:p>
            <a:r>
              <a:rPr lang="cs-CZ" sz="2800" dirty="0"/>
              <a:t>Projekce proočkovanosti populace ČR</a:t>
            </a:r>
            <a:endParaRPr lang="cs-CZ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BD7170F3-7BA1-4C80-9CA6-1E8C39CF2234}"/>
              </a:ext>
            </a:extLst>
          </p:cNvPr>
          <p:cNvSpPr txBox="1"/>
          <p:nvPr/>
        </p:nvSpPr>
        <p:spPr>
          <a:xfrm>
            <a:off x="842913" y="611167"/>
            <a:ext cx="3195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lá populace (N = 10 701 777)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C2393E35-7B52-4774-A997-E553FA19C744}"/>
              </a:ext>
            </a:extLst>
          </p:cNvPr>
          <p:cNvGraphicFramePr/>
          <p:nvPr/>
        </p:nvGraphicFramePr>
        <p:xfrm>
          <a:off x="142875" y="858495"/>
          <a:ext cx="11925394" cy="27229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AA5BD7ED-EC5A-4AAB-BAC1-03B5CAAD62C3}"/>
              </a:ext>
            </a:extLst>
          </p:cNvPr>
          <p:cNvSpPr txBox="1"/>
          <p:nvPr/>
        </p:nvSpPr>
        <p:spPr>
          <a:xfrm>
            <a:off x="842912" y="3773467"/>
            <a:ext cx="37290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pulace 16 a více let (N = 8 878 184)</a:t>
            </a:r>
          </a:p>
        </p:txBody>
      </p:sp>
      <p:graphicFrame>
        <p:nvGraphicFramePr>
          <p:cNvPr id="12" name="Graf 11">
            <a:extLst>
              <a:ext uri="{FF2B5EF4-FFF2-40B4-BE49-F238E27FC236}">
                <a16:creationId xmlns:a16="http://schemas.microsoft.com/office/drawing/2014/main" id="{6DDDBB2D-5370-446D-879A-CD4E6465291B}"/>
              </a:ext>
            </a:extLst>
          </p:cNvPr>
          <p:cNvGraphicFramePr/>
          <p:nvPr/>
        </p:nvGraphicFramePr>
        <p:xfrm>
          <a:off x="133303" y="4049370"/>
          <a:ext cx="11925394" cy="27229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TextovéPole 7"/>
          <p:cNvSpPr txBox="1"/>
          <p:nvPr/>
        </p:nvSpPr>
        <p:spPr>
          <a:xfrm>
            <a:off x="842912" y="980610"/>
            <a:ext cx="531829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ředpoklady projekce jsou velmi optimistické a vedou </a:t>
            </a:r>
            <a:r>
              <a:rPr lang="cs-CZ" sz="1400" dirty="0" smtClean="0"/>
              <a:t>k </a:t>
            </a:r>
            <a:r>
              <a:rPr lang="cs-CZ" sz="1400" dirty="0"/>
              <a:t>maximálním dosažitelným hodnotám </a:t>
            </a:r>
            <a:r>
              <a:rPr lang="cs-CZ" sz="1400" dirty="0" err="1" smtClean="0"/>
              <a:t>proočkovanosti</a:t>
            </a:r>
            <a:r>
              <a:rPr lang="cs-CZ" sz="1400" dirty="0" smtClean="0"/>
              <a:t>. Aktuální data ukazují, že reálná rychlost očkování je nižší zejména u aplikace prvních dávek.   </a:t>
            </a:r>
            <a:endParaRPr lang="cs-CZ" sz="1400" dirty="0"/>
          </a:p>
        </p:txBody>
      </p:sp>
      <p:cxnSp>
        <p:nvCxnSpPr>
          <p:cNvPr id="5" name="Přímá spojnice 4">
            <a:extLst>
              <a:ext uri="{FF2B5EF4-FFF2-40B4-BE49-F238E27FC236}">
                <a16:creationId xmlns:a16="http://schemas.microsoft.com/office/drawing/2014/main" id="{0F1412DF-55AD-4471-90DF-FE8EED162DA0}"/>
              </a:ext>
            </a:extLst>
          </p:cNvPr>
          <p:cNvCxnSpPr/>
          <p:nvPr/>
        </p:nvCxnSpPr>
        <p:spPr>
          <a:xfrm>
            <a:off x="9925050" y="1895475"/>
            <a:ext cx="28575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Obdélník 5">
            <a:extLst>
              <a:ext uri="{FF2B5EF4-FFF2-40B4-BE49-F238E27FC236}">
                <a16:creationId xmlns:a16="http://schemas.microsoft.com/office/drawing/2014/main" id="{AFF892E5-0826-426B-8BDF-52A4805F24BC}"/>
              </a:ext>
            </a:extLst>
          </p:cNvPr>
          <p:cNvSpPr/>
          <p:nvPr/>
        </p:nvSpPr>
        <p:spPr>
          <a:xfrm>
            <a:off x="10166422" y="1755145"/>
            <a:ext cx="160332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100" dirty="0">
                <a:solidFill>
                  <a:srgbClr val="C00000"/>
                </a:solidFill>
              </a:rPr>
              <a:t>reálná rychlost očkování </a:t>
            </a:r>
          </a:p>
        </p:txBody>
      </p:sp>
      <p:cxnSp>
        <p:nvCxnSpPr>
          <p:cNvPr id="14" name="Přímá spojnice 13">
            <a:extLst>
              <a:ext uri="{FF2B5EF4-FFF2-40B4-BE49-F238E27FC236}">
                <a16:creationId xmlns:a16="http://schemas.microsoft.com/office/drawing/2014/main" id="{554ED7AE-4634-4480-829E-04F8DEF636E8}"/>
              </a:ext>
            </a:extLst>
          </p:cNvPr>
          <p:cNvCxnSpPr/>
          <p:nvPr/>
        </p:nvCxnSpPr>
        <p:spPr>
          <a:xfrm>
            <a:off x="9925050" y="1390424"/>
            <a:ext cx="285750" cy="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bdélník 14">
            <a:extLst>
              <a:ext uri="{FF2B5EF4-FFF2-40B4-BE49-F238E27FC236}">
                <a16:creationId xmlns:a16="http://schemas.microsoft.com/office/drawing/2014/main" id="{52A2E2E0-E02C-49DF-86B9-E6A27F07F43D}"/>
              </a:ext>
            </a:extLst>
          </p:cNvPr>
          <p:cNvSpPr/>
          <p:nvPr/>
        </p:nvSpPr>
        <p:spPr>
          <a:xfrm>
            <a:off x="10166422" y="1250094"/>
            <a:ext cx="160332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100" dirty="0">
                <a:solidFill>
                  <a:srgbClr val="0070C0"/>
                </a:solidFill>
              </a:rPr>
              <a:t>reálná rychlost očkování </a:t>
            </a:r>
          </a:p>
        </p:txBody>
      </p:sp>
      <p:cxnSp>
        <p:nvCxnSpPr>
          <p:cNvPr id="16" name="Přímá spojnice 15">
            <a:extLst>
              <a:ext uri="{FF2B5EF4-FFF2-40B4-BE49-F238E27FC236}">
                <a16:creationId xmlns:a16="http://schemas.microsoft.com/office/drawing/2014/main" id="{CBCA321B-6D92-4D16-A607-740A7C5FC0CA}"/>
              </a:ext>
            </a:extLst>
          </p:cNvPr>
          <p:cNvCxnSpPr/>
          <p:nvPr/>
        </p:nvCxnSpPr>
        <p:spPr>
          <a:xfrm>
            <a:off x="9969428" y="5076825"/>
            <a:ext cx="28575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bdélník 16">
            <a:extLst>
              <a:ext uri="{FF2B5EF4-FFF2-40B4-BE49-F238E27FC236}">
                <a16:creationId xmlns:a16="http://schemas.microsoft.com/office/drawing/2014/main" id="{E43D2E84-6798-44DC-84B9-10683C5B6508}"/>
              </a:ext>
            </a:extLst>
          </p:cNvPr>
          <p:cNvSpPr/>
          <p:nvPr/>
        </p:nvSpPr>
        <p:spPr>
          <a:xfrm>
            <a:off x="10210800" y="4936495"/>
            <a:ext cx="160332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100" dirty="0">
                <a:solidFill>
                  <a:srgbClr val="C00000"/>
                </a:solidFill>
              </a:rPr>
              <a:t>reálná rychlost očkování </a:t>
            </a:r>
          </a:p>
        </p:txBody>
      </p:sp>
      <p:cxnSp>
        <p:nvCxnSpPr>
          <p:cNvPr id="18" name="Přímá spojnice 17">
            <a:extLst>
              <a:ext uri="{FF2B5EF4-FFF2-40B4-BE49-F238E27FC236}">
                <a16:creationId xmlns:a16="http://schemas.microsoft.com/office/drawing/2014/main" id="{2AAB4EAC-40B6-467E-8D66-9812AD570AC9}"/>
              </a:ext>
            </a:extLst>
          </p:cNvPr>
          <p:cNvCxnSpPr/>
          <p:nvPr/>
        </p:nvCxnSpPr>
        <p:spPr>
          <a:xfrm>
            <a:off x="9969428" y="4524149"/>
            <a:ext cx="285750" cy="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bdélník 18">
            <a:extLst>
              <a:ext uri="{FF2B5EF4-FFF2-40B4-BE49-F238E27FC236}">
                <a16:creationId xmlns:a16="http://schemas.microsoft.com/office/drawing/2014/main" id="{F3A42B1C-8177-4F6C-B8FC-57B591D126D0}"/>
              </a:ext>
            </a:extLst>
          </p:cNvPr>
          <p:cNvSpPr/>
          <p:nvPr/>
        </p:nvSpPr>
        <p:spPr>
          <a:xfrm>
            <a:off x="10210800" y="4383819"/>
            <a:ext cx="160332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100" dirty="0">
                <a:solidFill>
                  <a:srgbClr val="0070C0"/>
                </a:solidFill>
              </a:rPr>
              <a:t>reálná rychlost očkování </a:t>
            </a:r>
          </a:p>
        </p:txBody>
      </p:sp>
      <p:sp>
        <p:nvSpPr>
          <p:cNvPr id="20" name="TextovéPole 19"/>
          <p:cNvSpPr txBox="1"/>
          <p:nvPr/>
        </p:nvSpPr>
        <p:spPr>
          <a:xfrm>
            <a:off x="842912" y="4162242"/>
            <a:ext cx="531829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Předpoklady projekce jsou velmi optimistické a vedou </a:t>
            </a:r>
            <a:r>
              <a:rPr lang="cs-CZ" sz="1400" dirty="0" smtClean="0"/>
              <a:t>k </a:t>
            </a:r>
            <a:r>
              <a:rPr lang="cs-CZ" sz="1400" dirty="0"/>
              <a:t>maximálním dosažitelným hodnotám </a:t>
            </a:r>
            <a:r>
              <a:rPr lang="cs-CZ" sz="1400" dirty="0" err="1" smtClean="0"/>
              <a:t>proočkovanosti</a:t>
            </a:r>
            <a:r>
              <a:rPr lang="cs-CZ" sz="1400" dirty="0" smtClean="0"/>
              <a:t>. Aktuální data ukazují, že reálná rychlost očkování je nižší zejména u aplikace prvních dávek.   </a:t>
            </a:r>
            <a:endParaRPr lang="cs-CZ" sz="1400" dirty="0"/>
          </a:p>
        </p:txBody>
      </p:sp>
    </p:spTree>
    <p:extLst>
      <p:ext uri="{BB962C8B-B14F-4D97-AF65-F5344CB8AC3E}">
        <p14:creationId xmlns:p14="http://schemas.microsoft.com/office/powerpoint/2010/main" val="20451664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ovéPole 4">
            <a:extLst>
              <a:ext uri="{FF2B5EF4-FFF2-40B4-BE49-F238E27FC236}">
                <a16:creationId xmlns:a16="http://schemas.microsoft.com/office/drawing/2014/main" id="{A8F32B7D-2094-4232-AD78-BE19DD7B9AE6}"/>
              </a:ext>
            </a:extLst>
          </p:cNvPr>
          <p:cNvSpPr txBox="1"/>
          <p:nvPr/>
        </p:nvSpPr>
        <p:spPr>
          <a:xfrm>
            <a:off x="-200165" y="578574"/>
            <a:ext cx="1231394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pidemické křivky vytvořeny pomocí modelu pro krátkodobé predikce ÚZIS ČR,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6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6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pov</a:t>
            </a:r>
            <a:r>
              <a:rPr kumimoji="0" lang="cs-CZ" sz="16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dá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údajům z 27. 4. 2021.</a:t>
            </a:r>
            <a:r>
              <a:rPr kumimoji="0" lang="cs-CZ" sz="1600" b="1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lang="cs-CZ" sz="1600" b="1" dirty="0">
                <a:solidFill>
                  <a:srgbClr val="000000"/>
                </a:solidFill>
              </a:rPr>
              <a:t>Naměřené hodnoty jsou aktuální </a:t>
            </a:r>
            <a:r>
              <a:rPr lang="pl-PL" sz="1600" b="1" dirty="0">
                <a:solidFill>
                  <a:srgbClr val="000000"/>
                </a:solidFill>
              </a:rPr>
              <a:t>k uzavřenému dni 30. 5. 2021</a:t>
            </a:r>
            <a:r>
              <a:rPr lang="cs-CZ" sz="1600" b="1" dirty="0">
                <a:solidFill>
                  <a:srgbClr val="000000"/>
                </a:solidFill>
              </a:rPr>
              <a:t>.</a:t>
            </a:r>
            <a:endParaRPr kumimoji="0" lang="cs-CZ" sz="1700" b="1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000" y="2574"/>
            <a:ext cx="7464272" cy="576000"/>
          </a:xfrm>
        </p:spPr>
        <p:txBody>
          <a:bodyPr/>
          <a:lstStyle/>
          <a:p>
            <a:r>
              <a:rPr lang="cs-CZ" dirty="0" err="1"/>
              <a:t>Rekalibrace</a:t>
            </a:r>
            <a:r>
              <a:rPr lang="cs-CZ" dirty="0"/>
              <a:t> prediktivního modelu pro </a:t>
            </a:r>
            <a:r>
              <a:rPr lang="cs-CZ" dirty="0" smtClean="0"/>
              <a:t>nastavené scénáře</a:t>
            </a:r>
            <a:endParaRPr lang="cs-CZ" dirty="0"/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2CDF3C9D-B366-482C-9DEE-848BF9D72A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6096201"/>
              </p:ext>
            </p:extLst>
          </p:nvPr>
        </p:nvGraphicFramePr>
        <p:xfrm>
          <a:off x="89775" y="1696577"/>
          <a:ext cx="12024000" cy="4457210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692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93810515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27255013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889585356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val="3083214646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487868241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89101020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340384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264344487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3148050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091220691"/>
                    </a:ext>
                  </a:extLst>
                </a:gridCol>
              </a:tblGrid>
              <a:tr h="822960">
                <a:tc>
                  <a:txBody>
                    <a:bodyPr/>
                    <a:lstStyle/>
                    <a:p>
                      <a:pPr algn="l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600" u="sng" dirty="0"/>
                        <a:t>Predikovaný celkový počet</a:t>
                      </a:r>
                      <a:r>
                        <a:rPr lang="cs-CZ" sz="1600" u="none" dirty="0"/>
                        <a:t> </a:t>
                      </a:r>
                      <a:br>
                        <a:rPr lang="cs-CZ" sz="1600" u="none" dirty="0"/>
                      </a:br>
                      <a:r>
                        <a:rPr lang="cs-CZ" sz="1600" u="none" dirty="0"/>
                        <a:t>N</a:t>
                      </a:r>
                      <a:r>
                        <a:rPr lang="cs-CZ" sz="1600" dirty="0"/>
                        <a:t>ově prokázané nákazy COVID-19</a:t>
                      </a:r>
                      <a:endParaRPr lang="cs-CZ" sz="1600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alita: naměřené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odno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u="sng" dirty="0"/>
                        <a:t>Predikovaný průměrný denní počet</a:t>
                      </a:r>
                      <a:r>
                        <a:rPr lang="cs-CZ" sz="1600" dirty="0"/>
                        <a:t> Nově prokázané nákazy COVID-19</a:t>
                      </a:r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600" b="1" dirty="0"/>
                        <a:t>Realita: naměřené</a:t>
                      </a:r>
                    </a:p>
                    <a:p>
                      <a:pPr algn="ctr"/>
                      <a:r>
                        <a:rPr lang="cs-CZ" sz="1600" b="1" dirty="0"/>
                        <a:t>hodnoty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7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dnota R</a:t>
                      </a:r>
                      <a:b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od 19</a:t>
                      </a:r>
                      <a:r>
                        <a:rPr lang="en-US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4.)</a:t>
                      </a:r>
                      <a:endParaRPr lang="cs-CZ" sz="16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75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5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5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7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5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5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</a:rPr>
                        <a:t>denní průměr včetně víkendů</a:t>
                      </a:r>
                      <a:endParaRPr lang="en-US" sz="1200" dirty="0">
                        <a:highlight>
                          <a:srgbClr val="FFFFFF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</a:rPr>
                        <a:t>denní průměr v pracovních dnech</a:t>
                      </a:r>
                      <a:endParaRPr lang="cs-CZ" sz="1200" dirty="0">
                        <a:highlight>
                          <a:srgbClr val="FFFFFF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8491739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lang="cs-CZ" sz="1450" b="1" u="none" strike="noStrike" dirty="0">
                          <a:effectLst/>
                        </a:rPr>
                        <a:t>.–9. 5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2,1 tisíc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5 tisíc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9 tisíc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6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82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 73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 19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 72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 652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4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4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6621032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dirty="0">
                          <a:effectLst/>
                        </a:rPr>
                        <a:t>Období </a:t>
                      </a:r>
                      <a:r>
                        <a:rPr lang="cs-CZ" sz="1450" b="1" u="none" strike="noStrike" dirty="0">
                          <a:effectLst/>
                        </a:rPr>
                        <a:t>10.–16. 5.</a:t>
                      </a:r>
                      <a:endParaRPr lang="cs-CZ" sz="14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,6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2,7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8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9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2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 2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 808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 57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 145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8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5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62736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  <a:r>
                        <a:rPr lang="cs-CZ" sz="1450" b="1" u="none" strike="noStrike" dirty="0">
                          <a:effectLst/>
                        </a:rPr>
                        <a:t>.–23. 5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,1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0,5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7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3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8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7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 49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 436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 703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3466947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.</a:t>
                      </a:r>
                      <a:r>
                        <a:rPr lang="cs-CZ" sz="1450" b="1" u="none" strike="noStrike" dirty="0">
                          <a:effectLst/>
                        </a:rPr>
                        <a:t>–30. 5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4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,7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6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7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9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3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 24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 306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 334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7246171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1. 5</a:t>
                      </a:r>
                      <a:r>
                        <a:rPr lang="cs-CZ" sz="1450" b="1" u="none" strike="noStrike" dirty="0">
                          <a:effectLst/>
                        </a:rPr>
                        <a:t>–6. 6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2 tisíce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,2 tisíce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5 tisíc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2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6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 032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 184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 049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9339872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E4A0DC13-0AB7-42C0-B44A-C8095E8723E9}"/>
              </a:ext>
            </a:extLst>
          </p:cNvPr>
          <p:cNvSpPr txBox="1"/>
          <p:nvPr/>
        </p:nvSpPr>
        <p:spPr>
          <a:xfrm>
            <a:off x="228000" y="6279426"/>
            <a:ext cx="117347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200" dirty="0">
                <a:solidFill>
                  <a:schemeClr val="accent1"/>
                </a:solidFill>
              </a:rPr>
              <a:t>Predikované počty odpovídají modelovaným hodnotám (kalibrovaným na hodnoty pozorované v pracovních dnech), naměřené hodnoty zahrnují všechny počty hlášené do databáze, včetně zřetelně nižších záchytů nemoci v nepracovních dnech. V případě denního průměrného počtu jsou uvedeny i hodnoty, které zahrnují pouze pracovní dny.</a:t>
            </a:r>
          </a:p>
        </p:txBody>
      </p:sp>
      <p:sp>
        <p:nvSpPr>
          <p:cNvPr id="3" name="Šipka dolů 2"/>
          <p:cNvSpPr/>
          <p:nvPr/>
        </p:nvSpPr>
        <p:spPr>
          <a:xfrm>
            <a:off x="3110753" y="1298857"/>
            <a:ext cx="842683" cy="46053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1" name="Šipka dolů 10"/>
          <p:cNvSpPr/>
          <p:nvPr/>
        </p:nvSpPr>
        <p:spPr>
          <a:xfrm>
            <a:off x="7987553" y="1298857"/>
            <a:ext cx="842683" cy="46053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997493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9847623"/>
              </p:ext>
            </p:extLst>
          </p:nvPr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dirty="0" err="1">
                <a:latin typeface="+mj-lt"/>
              </a:rPr>
              <a:t>Modelov</a:t>
            </a:r>
            <a:r>
              <a:rPr lang="cs-CZ" dirty="0">
                <a:latin typeface="+mj-lt"/>
              </a:rPr>
              <a:t>é scénáře: </a:t>
            </a:r>
            <a:r>
              <a:rPr lang="cs-CZ" dirty="0" err="1">
                <a:latin typeface="+mj-lt"/>
              </a:rPr>
              <a:t>7denní</a:t>
            </a:r>
            <a:r>
              <a:rPr lang="cs-CZ" dirty="0">
                <a:latin typeface="+mj-lt"/>
              </a:rPr>
              <a:t> hodnoty na 100 tisíc obyvatel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5485644" y="1173002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5782825" y="1121195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álná 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2191937" y="1022638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5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1897192" y="1175760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095375A6-BA75-44A5-A84A-36A5A097F6F7}"/>
              </a:ext>
            </a:extLst>
          </p:cNvPr>
          <p:cNvSpPr txBox="1"/>
          <p:nvPr/>
        </p:nvSpPr>
        <p:spPr>
          <a:xfrm>
            <a:off x="2191937" y="124785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</a:t>
            </a: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0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85</a:t>
            </a:r>
          </a:p>
        </p:txBody>
      </p:sp>
      <p:cxnSp>
        <p:nvCxnSpPr>
          <p:cNvPr id="23" name="Přímá spojnice 22">
            <a:extLst>
              <a:ext uri="{FF2B5EF4-FFF2-40B4-BE49-F238E27FC236}">
                <a16:creationId xmlns:a16="http://schemas.microsoft.com/office/drawing/2014/main" id="{AB76497E-F494-41CE-B6CE-8CEE02B36A8F}"/>
              </a:ext>
            </a:extLst>
          </p:cNvPr>
          <p:cNvCxnSpPr>
            <a:cxnSpLocks/>
          </p:cNvCxnSpPr>
          <p:nvPr/>
        </p:nvCxnSpPr>
        <p:spPr>
          <a:xfrm>
            <a:off x="1897192" y="139906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1897192" y="1622373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2184080" y="1473077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27. 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4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)</a:t>
            </a:r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B058FAD-246D-4FB5-9A38-9461A45D5931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D97E0517-3EC9-44C6-B315-D6D19D4240FA}"/>
              </a:ext>
            </a:extLst>
          </p:cNvPr>
          <p:cNvSpPr txBox="1"/>
          <p:nvPr/>
        </p:nvSpPr>
        <p:spPr>
          <a:xfrm>
            <a:off x="228000" y="6363777"/>
            <a:ext cx="117347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1100" dirty="0">
                <a:solidFill>
                  <a:schemeClr val="accent1"/>
                </a:solidFill>
              </a:rPr>
              <a:t>Modelované hodnoty byly korigovány, aby odpovídaly celotýdenním hodnotám, včetně volných dnů</a:t>
            </a:r>
            <a:r>
              <a:rPr lang="en-US" sz="1100" dirty="0">
                <a:solidFill>
                  <a:schemeClr val="accent1"/>
                </a:solidFill>
              </a:rPr>
              <a:t> (82 % pr</a:t>
            </a:r>
            <a:r>
              <a:rPr lang="cs-CZ" sz="1100" dirty="0" err="1">
                <a:solidFill>
                  <a:schemeClr val="accent1"/>
                </a:solidFill>
              </a:rPr>
              <a:t>ůměrné</a:t>
            </a:r>
            <a:r>
              <a:rPr lang="cs-CZ" sz="1100" dirty="0">
                <a:solidFill>
                  <a:schemeClr val="accent1"/>
                </a:solidFill>
              </a:rPr>
              <a:t> hodnoty v pracovních dnech).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079DCD2B-EC27-47E9-B6A4-F6F1F3F1E16B}"/>
              </a:ext>
            </a:extLst>
          </p:cNvPr>
          <p:cNvSpPr txBox="1"/>
          <p:nvPr/>
        </p:nvSpPr>
        <p:spPr>
          <a:xfrm>
            <a:off x="11525360" y="4820098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b="1" dirty="0">
                <a:latin typeface="Calibri" panose="020F0502020204030204" pitchFamily="34" charset="0"/>
                <a:cs typeface="Calibri" panose="020F0502020204030204" pitchFamily="34" charset="0"/>
              </a:rPr>
              <a:t>100</a:t>
            </a:r>
          </a:p>
          <a:p>
            <a:r>
              <a:rPr lang="cs-CZ" sz="800" dirty="0">
                <a:latin typeface="Calibri" panose="020F0502020204030204" pitchFamily="34" charset="0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30FE691E-C2BD-4B30-A169-AABD4604D046}"/>
              </a:ext>
            </a:extLst>
          </p:cNvPr>
          <p:cNvSpPr txBox="1"/>
          <p:nvPr/>
        </p:nvSpPr>
        <p:spPr>
          <a:xfrm>
            <a:off x="11525360" y="5242445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b="1" dirty="0">
                <a:latin typeface="Calibri" panose="020F0502020204030204" pitchFamily="34" charset="0"/>
                <a:cs typeface="Calibri" panose="020F0502020204030204" pitchFamily="34" charset="0"/>
              </a:rPr>
              <a:t>50</a:t>
            </a:r>
          </a:p>
          <a:p>
            <a:r>
              <a:rPr lang="cs-CZ" sz="800" dirty="0">
                <a:latin typeface="Calibri" panose="020F0502020204030204" pitchFamily="34" charset="0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ECB5EFCC-D0F1-494C-9551-8227F8750606}"/>
              </a:ext>
            </a:extLst>
          </p:cNvPr>
          <p:cNvSpPr txBox="1"/>
          <p:nvPr/>
        </p:nvSpPr>
        <p:spPr>
          <a:xfrm>
            <a:off x="10034632" y="1467622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. 6. 2021</a:t>
            </a:r>
          </a:p>
          <a:p>
            <a:pPr lvl="0" algn="r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7denní </a:t>
            </a:r>
            <a:r>
              <a:rPr lang="cs-CZ" sz="1100" dirty="0" err="1">
                <a:solidFill>
                  <a:prstClr val="black"/>
                </a:solidFill>
                <a:latin typeface="Calibri" panose="020F0502020204030204"/>
              </a:rPr>
              <a:t>kum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lvl="0" algn="r">
              <a:defRPr/>
            </a:pPr>
            <a:r>
              <a:rPr lang="en-US" sz="1200" dirty="0">
                <a:solidFill>
                  <a:srgbClr val="FF0000"/>
                </a:solidFill>
                <a:latin typeface="Calibri" panose="020F0502020204030204"/>
              </a:rPr>
              <a:t>324</a:t>
            </a:r>
            <a:r>
              <a:rPr lang="cs-CZ" sz="1200" dirty="0">
                <a:solidFill>
                  <a:srgbClr val="FF0000"/>
                </a:solidFill>
                <a:latin typeface="Calibri" panose="020F0502020204030204"/>
              </a:rPr>
              <a:t> na 100 tisíc</a:t>
            </a:r>
          </a:p>
          <a:p>
            <a:pPr lvl="0" algn="r">
              <a:defRPr/>
            </a:pPr>
            <a:r>
              <a:rPr lang="en-US" sz="1200" dirty="0">
                <a:solidFill>
                  <a:srgbClr val="FF9900"/>
                </a:solidFill>
                <a:latin typeface="Calibri" panose="020F0502020204030204"/>
              </a:rPr>
              <a:t>117</a:t>
            </a:r>
            <a:r>
              <a:rPr lang="cs-CZ" sz="1200" dirty="0">
                <a:solidFill>
                  <a:srgbClr val="FF9900"/>
                </a:solidFill>
                <a:latin typeface="Calibri" panose="020F0502020204030204"/>
              </a:rPr>
              <a:t> na 100 tisíc</a:t>
            </a:r>
          </a:p>
          <a:p>
            <a:pPr lvl="0" algn="r">
              <a:defRPr/>
            </a:pPr>
            <a:r>
              <a:rPr lang="en-US" sz="1200" dirty="0">
                <a:solidFill>
                  <a:srgbClr val="0070C0"/>
                </a:solidFill>
                <a:latin typeface="Calibri" panose="020F0502020204030204"/>
              </a:rPr>
              <a:t>55</a:t>
            </a:r>
            <a:r>
              <a:rPr lang="cs-CZ" sz="1200" dirty="0">
                <a:solidFill>
                  <a:srgbClr val="0070C0"/>
                </a:solidFill>
                <a:latin typeface="Calibri" panose="020F0502020204030204"/>
              </a:rPr>
              <a:t> na 100 tisíc</a:t>
            </a:r>
          </a:p>
          <a:p>
            <a:pPr lvl="0" algn="r">
              <a:defRPr/>
            </a:pPr>
            <a:r>
              <a:rPr lang="en-US" sz="1200" dirty="0">
                <a:solidFill>
                  <a:srgbClr val="00B050"/>
                </a:solidFill>
                <a:latin typeface="Calibri" panose="020F0502020204030204"/>
              </a:rPr>
              <a:t>25</a:t>
            </a:r>
            <a:r>
              <a:rPr lang="cs-CZ" sz="1200" dirty="0">
                <a:solidFill>
                  <a:srgbClr val="00B050"/>
                </a:solidFill>
                <a:latin typeface="Calibri" panose="020F0502020204030204"/>
              </a:rPr>
              <a:t> na 100 tisíc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CF9D18DF-5F8D-4144-AF44-4F3BB83E5008}"/>
              </a:ext>
            </a:extLst>
          </p:cNvPr>
          <p:cNvSpPr txBox="1"/>
          <p:nvPr/>
        </p:nvSpPr>
        <p:spPr>
          <a:xfrm>
            <a:off x="7944179" y="1467622"/>
            <a:ext cx="1945048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Calibri" panose="020F0502020204030204"/>
              </a:rPr>
              <a:t>15. 5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1 </a:t>
            </a:r>
            <a:b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7denní </a:t>
            </a:r>
            <a:r>
              <a:rPr lang="cs-CZ" sz="1100" dirty="0" err="1">
                <a:solidFill>
                  <a:prstClr val="black"/>
                </a:solidFill>
                <a:latin typeface="Calibri" panose="020F0502020204030204"/>
              </a:rPr>
              <a:t>kum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. počet na 100 tis.)</a:t>
            </a:r>
            <a:endParaRPr kumimoji="0" lang="cs-CZ" sz="12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lvl="0" algn="r">
              <a:defRPr/>
            </a:pPr>
            <a:r>
              <a:rPr lang="en-US" sz="1200" dirty="0">
                <a:solidFill>
                  <a:srgbClr val="FF0000"/>
                </a:solidFill>
                <a:latin typeface="Calibri" panose="020F0502020204030204"/>
              </a:rPr>
              <a:t>218</a:t>
            </a:r>
            <a:r>
              <a:rPr lang="cs-CZ" sz="1200" dirty="0">
                <a:solidFill>
                  <a:srgbClr val="FF0000"/>
                </a:solidFill>
                <a:latin typeface="Calibri" panose="020F0502020204030204"/>
              </a:rPr>
              <a:t>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 100 tisíc</a:t>
            </a:r>
          </a:p>
          <a:p>
            <a:pPr lvl="0" algn="r">
              <a:defRPr/>
            </a:pPr>
            <a:r>
              <a:rPr lang="cs-CZ" sz="1200" dirty="0">
                <a:solidFill>
                  <a:srgbClr val="FF9900"/>
                </a:solidFill>
                <a:latin typeface="Calibri" panose="020F0502020204030204"/>
              </a:rPr>
              <a:t>1</a:t>
            </a:r>
            <a:r>
              <a:rPr lang="en-US" sz="1200" dirty="0">
                <a:solidFill>
                  <a:srgbClr val="FF9900"/>
                </a:solidFill>
                <a:latin typeface="Calibri" panose="020F0502020204030204"/>
              </a:rPr>
              <a:t>39</a:t>
            </a:r>
            <a:r>
              <a:rPr lang="cs-CZ" sz="1200" dirty="0">
                <a:solidFill>
                  <a:srgbClr val="FF9900"/>
                </a:solidFill>
                <a:latin typeface="Calibri" panose="020F0502020204030204"/>
              </a:rPr>
              <a:t> na 100 tisíc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FF99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lvl="0" algn="r">
              <a:defRPr/>
            </a:pPr>
            <a:r>
              <a:rPr lang="en-US" sz="1200" dirty="0">
                <a:solidFill>
                  <a:srgbClr val="0070C0"/>
                </a:solidFill>
                <a:latin typeface="Calibri" panose="020F0502020204030204"/>
              </a:rPr>
              <a:t>100</a:t>
            </a:r>
            <a:r>
              <a:rPr lang="cs-CZ" sz="1200" dirty="0">
                <a:solidFill>
                  <a:srgbClr val="0070C0"/>
                </a:solidFill>
                <a:latin typeface="Calibri" panose="020F0502020204030204"/>
              </a:rPr>
              <a:t> na 100 tisíc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lvl="0" algn="r">
              <a:defRPr/>
            </a:pPr>
            <a:r>
              <a:rPr lang="en-US" sz="1200" dirty="0">
                <a:solidFill>
                  <a:srgbClr val="00B050"/>
                </a:solidFill>
                <a:latin typeface="Calibri" panose="020F0502020204030204"/>
              </a:rPr>
              <a:t>69</a:t>
            </a:r>
            <a:r>
              <a:rPr lang="cs-CZ" sz="1200" dirty="0">
                <a:solidFill>
                  <a:srgbClr val="00B050"/>
                </a:solidFill>
                <a:latin typeface="Calibri" panose="020F0502020204030204"/>
              </a:rPr>
              <a:t> na 100 tisíc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ovéPole 3"/>
          <p:cNvSpPr txBox="1"/>
          <p:nvPr/>
        </p:nvSpPr>
        <p:spPr>
          <a:xfrm>
            <a:off x="8458859" y="1079342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i="1" dirty="0"/>
              <a:t>Predikované hodnoty </a:t>
            </a:r>
          </a:p>
        </p:txBody>
      </p:sp>
    </p:spTree>
    <p:extLst>
      <p:ext uri="{BB962C8B-B14F-4D97-AF65-F5344CB8AC3E}">
        <p14:creationId xmlns:p14="http://schemas.microsoft.com/office/powerpoint/2010/main" val="20700927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4">
            <a:extLst>
              <a:ext uri="{FF2B5EF4-FFF2-40B4-BE49-F238E27FC236}">
                <a16:creationId xmlns:a16="http://schemas.microsoft.com/office/drawing/2014/main" id="{46EFD5D5-E2B4-4082-B862-E88569B63F81}"/>
              </a:ext>
            </a:extLst>
          </p:cNvPr>
          <p:cNvGraphicFramePr/>
          <p:nvPr/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0" name="Table 11">
            <a:extLst>
              <a:ext uri="{FF2B5EF4-FFF2-40B4-BE49-F238E27FC236}">
                <a16:creationId xmlns:a16="http://schemas.microsoft.com/office/drawing/2014/main" id="{AFE715F2-2501-49E4-8F9E-AD3FACC732CC}"/>
              </a:ext>
            </a:extLst>
          </p:cNvPr>
          <p:cNvGraphicFramePr>
            <a:graphicFrameLocks noGrp="1"/>
          </p:cNvGraphicFramePr>
          <p:nvPr/>
        </p:nvGraphicFramePr>
        <p:xfrm>
          <a:off x="922214" y="631457"/>
          <a:ext cx="10328489" cy="302589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. 4.–2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. 5.–9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0. 5.–16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7. 5.–23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. 5.–30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54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46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89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2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6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4,7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9,6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4,6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6,0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6308715"/>
                  </a:ext>
                </a:extLst>
              </a:tr>
              <a:tr h="409445">
                <a:tc gridSpan="6">
                  <a:txBody>
                    <a:bodyPr/>
                    <a:lstStyle/>
                    <a:p>
                      <a:pPr algn="ctr" rtl="0" fontAlgn="ctr"/>
                      <a:r>
                        <a:rPr lang="cs-CZ" sz="20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ktuální odhad pro ČR: 0,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2000" b="1" i="0" u="sng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5051437"/>
                  </a:ext>
                </a:extLst>
              </a:tr>
            </a:tbl>
          </a:graphicData>
        </a:graphic>
      </p:graphicFrame>
      <p:sp>
        <p:nvSpPr>
          <p:cNvPr id="13" name="Šipka doprava 58">
            <a:extLst>
              <a:ext uri="{FF2B5EF4-FFF2-40B4-BE49-F238E27FC236}">
                <a16:creationId xmlns:a16="http://schemas.microsoft.com/office/drawing/2014/main" id="{F4560E84-2F4A-4BEA-BD3C-44D5B82984B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697074" flipV="1">
            <a:off x="11149669" y="5424151"/>
            <a:ext cx="521883" cy="28115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970832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Zahnutá šipka nahoru 25">
            <a:extLst>
              <a:ext uri="{FF2B5EF4-FFF2-40B4-BE49-F238E27FC236}">
                <a16:creationId xmlns:a16="http://schemas.microsoft.com/office/drawing/2014/main" id="{B7104930-024A-4044-A0CF-2DE6C3BD7FC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172714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Zahnutá šipka nahoru 25">
            <a:extLst>
              <a:ext uri="{FF2B5EF4-FFF2-40B4-BE49-F238E27FC236}">
                <a16:creationId xmlns:a16="http://schemas.microsoft.com/office/drawing/2014/main" id="{A310F353-468A-478C-85AA-BAA4E17F262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374596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ů pozitivních diagnóz ukazuje na pokračující zpomalování epidemie</a:t>
            </a:r>
          </a:p>
        </p:txBody>
      </p:sp>
    </p:spTree>
    <p:extLst>
      <p:ext uri="{BB962C8B-B14F-4D97-AF65-F5344CB8AC3E}">
        <p14:creationId xmlns:p14="http://schemas.microsoft.com/office/powerpoint/2010/main" val="17049186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ovéPole 18"/>
          <p:cNvSpPr txBox="1"/>
          <p:nvPr/>
        </p:nvSpPr>
        <p:spPr>
          <a:xfrm>
            <a:off x="518100" y="1845442"/>
            <a:ext cx="11378151" cy="49244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Následující dva grafy uzavírají hodnocení</a:t>
            </a:r>
            <a:r>
              <a:rPr kumimoji="0" lang="cs-CZ" sz="280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</a:rPr>
              <a:t> </a:t>
            </a:r>
            <a:r>
              <a:rPr kumimoji="0" lang="cs-CZ" sz="280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kalibrace </a:t>
            </a:r>
            <a:r>
              <a:rPr kumimoji="0" lang="cs-CZ" sz="28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modelu pro rychlé brždění epidemie </a:t>
            </a:r>
            <a:r>
              <a:rPr kumimoji="0" lang="cs-CZ" sz="280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provedené </a:t>
            </a:r>
            <a:r>
              <a:rPr kumimoji="0" lang="cs-CZ" sz="28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ne 5.3. </a:t>
            </a:r>
            <a:r>
              <a:rPr kumimoji="0" lang="cs-CZ" sz="280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2021. Tento m</a:t>
            </a:r>
            <a:r>
              <a:rPr lang="cs-CZ" sz="2800" dirty="0" err="1" smtClean="0"/>
              <a:t>odel</a:t>
            </a:r>
            <a:r>
              <a:rPr lang="cs-CZ" sz="2800" dirty="0" smtClean="0"/>
              <a:t> </a:t>
            </a:r>
            <a:r>
              <a:rPr lang="cs-CZ" sz="2800" dirty="0"/>
              <a:t>předpokládal snížení mobility obyvatel a posílení dodržování opatření již od konce února 2021</a:t>
            </a:r>
            <a:r>
              <a:rPr lang="cs-CZ" sz="2800" dirty="0" smtClean="0"/>
              <a:t>. Model nezahrnoval efekt vakcinace.</a:t>
            </a:r>
            <a:endParaRPr lang="cs-CZ" sz="2800" kern="0" dirty="0"/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3400" i="1" kern="0" dirty="0">
              <a:latin typeface="Calibri" panose="020F0502020204030204"/>
            </a:endParaRPr>
          </a:p>
          <a:p>
            <a:pPr algn="ctr">
              <a:defRPr/>
            </a:pPr>
            <a:r>
              <a:rPr lang="cs-CZ" sz="2800" b="1" i="1" dirty="0" smtClean="0">
                <a:solidFill>
                  <a:srgbClr val="3333CC"/>
                </a:solidFill>
              </a:rPr>
              <a:t>Reálný vývoj potvrdil rychlejší </a:t>
            </a:r>
            <a:r>
              <a:rPr lang="cs-CZ" sz="2800" b="1" i="1" dirty="0">
                <a:solidFill>
                  <a:srgbClr val="3333CC"/>
                </a:solidFill>
              </a:rPr>
              <a:t>zpomalování </a:t>
            </a:r>
            <a:r>
              <a:rPr lang="cs-CZ" sz="2800" b="1" i="1" dirty="0" smtClean="0">
                <a:solidFill>
                  <a:srgbClr val="3333CC"/>
                </a:solidFill>
              </a:rPr>
              <a:t>epidemie</a:t>
            </a:r>
            <a:r>
              <a:rPr lang="cs-CZ" sz="2800" b="1" i="1" dirty="0">
                <a:solidFill>
                  <a:srgbClr val="3333CC"/>
                </a:solidFill>
              </a:rPr>
              <a:t> </a:t>
            </a:r>
            <a:r>
              <a:rPr lang="cs-CZ" sz="2800" b="1" i="1" dirty="0" smtClean="0">
                <a:solidFill>
                  <a:srgbClr val="3333CC"/>
                </a:solidFill>
              </a:rPr>
              <a:t>než předpokládal původní model bez efektu vakcinace. </a:t>
            </a:r>
            <a:r>
              <a:rPr lang="cs-CZ" sz="2800" b="1" i="1" dirty="0" smtClean="0">
                <a:solidFill>
                  <a:srgbClr val="3333CC"/>
                </a:solidFill>
              </a:rPr>
              <a:t>V klesajícím trendu </a:t>
            </a:r>
            <a:r>
              <a:rPr lang="cs-CZ" sz="2800" b="1" i="1" dirty="0">
                <a:solidFill>
                  <a:srgbClr val="3333CC"/>
                </a:solidFill>
              </a:rPr>
              <a:t>se již s vysokou pravděpodobností </a:t>
            </a:r>
            <a:r>
              <a:rPr lang="cs-CZ" sz="2800" b="1" i="1" dirty="0" smtClean="0">
                <a:solidFill>
                  <a:srgbClr val="3333CC"/>
                </a:solidFill>
              </a:rPr>
              <a:t>promítl vliv postupujícího </a:t>
            </a:r>
            <a:r>
              <a:rPr lang="cs-CZ" sz="2800" b="1" i="1" dirty="0">
                <a:solidFill>
                  <a:srgbClr val="3333CC"/>
                </a:solidFill>
              </a:rPr>
              <a:t>očkování </a:t>
            </a:r>
            <a:r>
              <a:rPr lang="cs-CZ" sz="2800" b="1" i="1" dirty="0" smtClean="0">
                <a:solidFill>
                  <a:srgbClr val="3333CC"/>
                </a:solidFill>
              </a:rPr>
              <a:t>populace</a:t>
            </a:r>
            <a:r>
              <a:rPr lang="cs-CZ" sz="2800" b="1" i="1" dirty="0" smtClean="0">
                <a:solidFill>
                  <a:srgbClr val="3333CC"/>
                </a:solidFill>
              </a:rPr>
              <a:t>, a proto byly další varianty dlouhodobých modelů SEIR na červen 2021 o tuto komponentu doplněny. </a:t>
            </a:r>
            <a:endParaRPr kumimoji="0" lang="cs-CZ" sz="2800" i="1" u="none" strike="noStrike" kern="0" cap="none" spc="0" normalizeH="0" baseline="0" noProof="0" dirty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Šipka dolů 1"/>
          <p:cNvSpPr/>
          <p:nvPr/>
        </p:nvSpPr>
        <p:spPr>
          <a:xfrm>
            <a:off x="5624021" y="3740099"/>
            <a:ext cx="977774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" name="Obdélník 2"/>
          <p:cNvSpPr/>
          <p:nvPr/>
        </p:nvSpPr>
        <p:spPr>
          <a:xfrm>
            <a:off x="169682" y="254524"/>
            <a:ext cx="11886453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cs-CZ" sz="2200" b="1" kern="0" dirty="0"/>
              <a:t>Dlouhodobá predikce dle </a:t>
            </a:r>
            <a:r>
              <a:rPr lang="cs-CZ" sz="2200" b="1" kern="0" dirty="0" smtClean="0"/>
              <a:t>původního modelu </a:t>
            </a:r>
            <a:r>
              <a:rPr lang="cs-CZ" sz="2200" b="1" kern="0" dirty="0"/>
              <a:t>SEIR, který byl pro epidemii COVID-19 v ČR adaptován na počátku dubna 2020. </a:t>
            </a:r>
            <a:r>
              <a:rPr lang="cs-CZ" sz="2200" i="1" kern="0" dirty="0">
                <a:solidFill>
                  <a:prstClr val="black"/>
                </a:solidFill>
              </a:rPr>
              <a:t>Predikce pro rizikový vývoj vyvolaný nárůstem rizikových kontaktů nebo zvýšením reprodukční dynamiky nákazy (virtuální efekt případného opětovného uvolnění nebo efekt šíření nakažlivějších forem viru).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718289" y="6346408"/>
            <a:ext cx="977774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65867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07036792-3DB3-488F-B2B0-05AABD6DB2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0867" y="1529113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 model: udržení a významné posílení opatření </a:t>
            </a:r>
          </a:p>
          <a:p>
            <a:pPr lvl="0" algn="ctr"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 potenciálních opatření na mobilitu </a:t>
            </a:r>
            <a:r>
              <a:rPr lang="cs-CZ" sz="2200" b="1" dirty="0">
                <a:solidFill>
                  <a:prstClr val="white"/>
                </a:solidFill>
              </a:rPr>
              <a:t>od konce února </a:t>
            </a:r>
            <a:r>
              <a:rPr lang="cs-CZ" sz="2200" b="1" dirty="0" smtClean="0">
                <a:solidFill>
                  <a:prstClr val="white"/>
                </a:solidFill>
              </a:rPr>
              <a:t>2021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28.1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4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4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základní reprodukce o 10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30 % od 4.1.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konce února</a:t>
            </a:r>
            <a:endParaRPr kumimoji="0" lang="cs-CZ" sz="1600" b="1" i="0" u="sng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</a:t>
            </a:r>
            <a:endParaRPr kumimoji="0" lang="en-US" sz="1600" b="1" i="0" u="sng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19582" y="1346666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ce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47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7996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0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8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6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  <p:sp>
        <p:nvSpPr>
          <p:cNvPr id="17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2117718" y="1863035"/>
            <a:ext cx="578535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ůvodní model SEIR z</a:t>
            </a:r>
            <a:r>
              <a:rPr kumimoji="0" lang="cs-CZ" sz="16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5.3. 2021, předpokládající rychlé brždění epidemie, avšak ještě bez vlivu očkování. Reálný vývoj potvrdil ještě silnější zpomalení šíření nákazy, v květnu již v důsledku postupujícího očkování.  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Šipka doprava 17"/>
          <p:cNvSpPr/>
          <p:nvPr/>
        </p:nvSpPr>
        <p:spPr>
          <a:xfrm rot="5400000">
            <a:off x="7154304" y="3329912"/>
            <a:ext cx="772913" cy="208756"/>
          </a:xfrm>
          <a:prstGeom prst="righ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292279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iv systému Office">
  <a:themeElements>
    <a:clrScheme name="Vlastní 2">
      <a:dk1>
        <a:srgbClr val="5F5F5F"/>
      </a:dk1>
      <a:lt1>
        <a:sysClr val="window" lastClr="FFFFFF"/>
      </a:lt1>
      <a:dk2>
        <a:srgbClr val="84848E"/>
      </a:dk2>
      <a:lt2>
        <a:srgbClr val="F2F2F2"/>
      </a:lt2>
      <a:accent1>
        <a:srgbClr val="E7B13D"/>
      </a:accent1>
      <a:accent2>
        <a:srgbClr val="3D67BC"/>
      </a:accent2>
      <a:accent3>
        <a:srgbClr val="274073"/>
      </a:accent3>
      <a:accent4>
        <a:srgbClr val="84848E"/>
      </a:accent4>
      <a:accent5>
        <a:srgbClr val="D8D8D8"/>
      </a:accent5>
      <a:accent6>
        <a:srgbClr val="DDDCE0"/>
      </a:accent6>
      <a:hlink>
        <a:srgbClr val="1919FF"/>
      </a:hlink>
      <a:folHlink>
        <a:srgbClr val="00005F"/>
      </a:folHlink>
    </a:clrScheme>
    <a:fontScheme name="Paliativní péč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2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8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6.xml><?xml version="1.0" encoding="utf-8"?>
<a:theme xmlns:a="http://schemas.openxmlformats.org/drawingml/2006/main" name="3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7.xml><?xml version="1.0" encoding="utf-8"?>
<a:theme xmlns:a="http://schemas.openxmlformats.org/drawingml/2006/main" name="4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5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355</TotalTime>
  <Words>6305</Words>
  <Application>Microsoft Office PowerPoint</Application>
  <PresentationFormat>Širokoúhlá obrazovka</PresentationFormat>
  <Paragraphs>1041</Paragraphs>
  <Slides>44</Slides>
  <Notes>7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8</vt:i4>
      </vt:variant>
      <vt:variant>
        <vt:lpstr>Nadpisy snímků</vt:lpstr>
      </vt:variant>
      <vt:variant>
        <vt:i4>44</vt:i4>
      </vt:variant>
    </vt:vector>
  </HeadingPairs>
  <TitlesOfParts>
    <vt:vector size="57" baseType="lpstr">
      <vt:lpstr>Arial</vt:lpstr>
      <vt:lpstr>Calibri</vt:lpstr>
      <vt:lpstr>Calibri Light</vt:lpstr>
      <vt:lpstr>Segoe UI</vt:lpstr>
      <vt:lpstr>Wingdings</vt:lpstr>
      <vt:lpstr>Motiv Office</vt:lpstr>
      <vt:lpstr>1_Motiv systému Office</vt:lpstr>
      <vt:lpstr>1_Motiv Office</vt:lpstr>
      <vt:lpstr>2_Motiv Office</vt:lpstr>
      <vt:lpstr>8_Motiv Office</vt:lpstr>
      <vt:lpstr>3_Motiv Office</vt:lpstr>
      <vt:lpstr>4_Motiv Office</vt:lpstr>
      <vt:lpstr>5_Motiv Office</vt:lpstr>
      <vt:lpstr>Datová a informační základna  pro management pandemie COVID-19</vt:lpstr>
      <vt:lpstr>Datová a informační základna  pro management pandemie COVID-19</vt:lpstr>
      <vt:lpstr>Navržené scénáře pro  vývoj epidemie v květnu</vt:lpstr>
      <vt:lpstr>Predikce ve čtyřech scénářích</vt:lpstr>
      <vt:lpstr>Rekalibrace prediktivního modelu pro nastavené scénáře</vt:lpstr>
      <vt:lpstr>Modelové scénáře: 7denní hodnoty na 100 tisíc obyvatel</vt:lpstr>
      <vt:lpstr>Prezentace aplikace PowerPoint</vt:lpstr>
      <vt:lpstr>Prezentace aplikace PowerPoint</vt:lpstr>
      <vt:lpstr>Prezentace aplikace PowerPoint</vt:lpstr>
      <vt:lpstr>Prezentace aplikace PowerPoint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Scénáře pro dlouhodobé simulace</vt:lpstr>
      <vt:lpstr>Scénáře dlouhodobých simulací z 5. 3. 2021</vt:lpstr>
      <vt:lpstr>Scénáře pro dlouhodobé simulace</vt:lpstr>
      <vt:lpstr>Scénáře dlouhodobých simulací</vt:lpstr>
      <vt:lpstr>Nové scénáře pro dlouhodobé simulace zahrnující efekt vakcinace </vt:lpstr>
      <vt:lpstr>Scénáře dlouhodobých simulací z 12. 5. 2021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Národní dispečink lůžkové péče</vt:lpstr>
      <vt:lpstr>Národní dispečink lůžkové péče</vt:lpstr>
      <vt:lpstr>NDLP – vývoj obsazenosti C+ lůžek v ČR</vt:lpstr>
      <vt:lpstr>Datová a informační základna  pro management pandemie COVID-19</vt:lpstr>
      <vt:lpstr>Prezentace aplikace PowerPoint</vt:lpstr>
      <vt:lpstr>Predikovaný počet aktuálně hospitalizovaných</vt:lpstr>
      <vt:lpstr>Predikovaný počet aktuálně hospitalizovaných na JIP</vt:lpstr>
      <vt:lpstr>Predikovaný počet nových hospitalizačních případů</vt:lpstr>
      <vt:lpstr>Predikovaný počet zemřelých</vt:lpstr>
      <vt:lpstr>Zpomalení šíření infekce v důsledku snížení počtu vnímavých jedinců</vt:lpstr>
      <vt:lpstr>Datová a informační základna  pro management pandemie COVID-19</vt:lpstr>
      <vt:lpstr>Předpoklady:  projekce počtu vakcinovaných</vt:lpstr>
      <vt:lpstr>Potenciální projekce: absolutně</vt:lpstr>
      <vt:lpstr>Potenciální projekce: proočkovanost</vt:lpstr>
      <vt:lpstr>Projekce proočkovanosti populace Č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artin Komenda</dc:creator>
  <cp:lastModifiedBy>Ladislav Dušek</cp:lastModifiedBy>
  <cp:revision>1996</cp:revision>
  <dcterms:created xsi:type="dcterms:W3CDTF">2020-03-16T10:06:11Z</dcterms:created>
  <dcterms:modified xsi:type="dcterms:W3CDTF">2021-05-31T18:03:22Z</dcterms:modified>
</cp:coreProperties>
</file>